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73" r:id="rId3"/>
    <p:sldId id="275" r:id="rId4"/>
    <p:sldId id="276" r:id="rId5"/>
    <p:sldId id="278" r:id="rId6"/>
    <p:sldId id="277" r:id="rId7"/>
    <p:sldId id="274" r:id="rId8"/>
    <p:sldId id="279" r:id="rId9"/>
    <p:sldId id="282" r:id="rId10"/>
    <p:sldId id="281" r:id="rId11"/>
    <p:sldId id="280" r:id="rId12"/>
    <p:sldId id="263" r:id="rId13"/>
    <p:sldId id="264" r:id="rId14"/>
    <p:sldId id="265" r:id="rId15"/>
    <p:sldId id="267" r:id="rId16"/>
    <p:sldId id="268" r:id="rId17"/>
    <p:sldId id="272" r:id="rId18"/>
    <p:sldId id="269" r:id="rId19"/>
    <p:sldId id="270" r:id="rId20"/>
    <p:sldId id="271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984" userDrawn="1">
          <p15:clr>
            <a:srgbClr val="A4A3A4"/>
          </p15:clr>
        </p15:guide>
        <p15:guide id="4" orient="horz" pos="24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3" d="100"/>
          <a:sy n="63" d="100"/>
        </p:scale>
        <p:origin x="764" y="56"/>
      </p:cViewPr>
      <p:guideLst>
        <p:guide orient="horz" pos="912"/>
        <p:guide pos="3840"/>
        <p:guide orient="horz" pos="3984"/>
        <p:guide orient="horz" pos="24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0" dirty="0">
                <a:solidFill>
                  <a:schemeClr val="tx1"/>
                </a:solidFill>
                <a:latin typeface="+mn-lt"/>
              </a:rPr>
              <a:t>LOREM</a:t>
            </a:r>
            <a:r>
              <a:rPr lang="en-US" sz="1600" b="0" baseline="0" dirty="0">
                <a:solidFill>
                  <a:schemeClr val="tx1"/>
                </a:solidFill>
                <a:latin typeface="+mn-lt"/>
              </a:rPr>
              <a:t> IPSUM</a:t>
            </a:r>
            <a:endParaRPr lang="en-US" sz="1600" b="0" dirty="0">
              <a:solidFill>
                <a:schemeClr val="tx1"/>
              </a:solidFill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c:spPr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7B-4365-8A28-E468A071A6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c:spPr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7B-4365-8A28-E468A071A6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7743136"/>
        <c:axId val="267735688"/>
      </c:areaChar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DADFE1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7B-4365-8A28-E468A071A6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7743136"/>
        <c:axId val="267735688"/>
      </c:barChart>
      <c:catAx>
        <c:axId val="26774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7735688"/>
        <c:crosses val="autoZero"/>
        <c:auto val="1"/>
        <c:lblAlgn val="ctr"/>
        <c:lblOffset val="100"/>
        <c:noMultiLvlLbl val="0"/>
      </c:catAx>
      <c:valAx>
        <c:axId val="267735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67743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B3-4169-8988-AD6E6835065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B3-4169-8988-AD6E6835065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B3-4169-8988-AD6E68350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1"/>
        <c:overlap val="-20"/>
        <c:axId val="754928424"/>
        <c:axId val="754924696"/>
      </c:barChart>
      <c:catAx>
        <c:axId val="7549284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+mn-cs"/>
              </a:defRPr>
            </a:pPr>
            <a:endParaRPr lang="en-US"/>
          </a:p>
        </c:txPr>
        <c:crossAx val="754924696"/>
        <c:crosses val="autoZero"/>
        <c:auto val="1"/>
        <c:lblAlgn val="ctr"/>
        <c:lblOffset val="100"/>
        <c:noMultiLvlLbl val="0"/>
      </c:catAx>
      <c:valAx>
        <c:axId val="754924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+mn-cs"/>
              </a:defRPr>
            </a:pPr>
            <a:endParaRPr lang="en-US"/>
          </a:p>
        </c:txPr>
        <c:crossAx val="754928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>
                  <a:alpha val="6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B696-4B53-9F30-77C1BE06AEE9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B696-4B53-9F30-77C1BE06AEE9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696-4B53-9F30-77C1BE06AEE9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B696-4B53-9F30-77C1BE06AEE9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696-4B53-9F30-77C1BE06AEE9}"/>
              </c:ext>
            </c:extLst>
          </c:dPt>
          <c:dPt>
            <c:idx val="5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B696-4B53-9F30-77C1BE06AEE9}"/>
              </c:ext>
            </c:extLst>
          </c:dPt>
          <c:dPt>
            <c:idx val="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696-4B53-9F30-77C1BE06AEE9}"/>
              </c:ext>
            </c:extLst>
          </c:dPt>
          <c:dPt>
            <c:idx val="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B696-4B53-9F30-77C1BE06AEE9}"/>
              </c:ext>
            </c:extLst>
          </c:dPt>
          <c:dPt>
            <c:idx val="8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696-4B53-9F30-77C1BE06AEE9}"/>
              </c:ext>
            </c:extLst>
          </c:dPt>
          <c:dPt>
            <c:idx val="9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696-4B53-9F30-77C1BE06AEE9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696-4B53-9F30-77C1BE06AEE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696-4B53-9F30-77C1BE06AEE9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696-4B53-9F30-77C1BE06AEE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696-4B53-9F30-77C1BE06AEE9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96-4B53-9F30-77C1BE06AEE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696-4B53-9F30-77C1BE06AEE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696-4B53-9F30-77C1BE06AEE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696-4B53-9F30-77C1BE06AEE9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696-4B53-9F30-77C1BE06AEE9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696-4B53-9F30-77C1BE06AE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0</c:v>
                </c:pt>
                <c:pt idx="1">
                  <c:v>5</c:v>
                </c:pt>
                <c:pt idx="2">
                  <c:v>15</c:v>
                </c:pt>
                <c:pt idx="3">
                  <c:v>12</c:v>
                </c:pt>
                <c:pt idx="4">
                  <c:v>15</c:v>
                </c:pt>
                <c:pt idx="5">
                  <c:v>7.6</c:v>
                </c:pt>
                <c:pt idx="6">
                  <c:v>8</c:v>
                </c:pt>
                <c:pt idx="7">
                  <c:v>7</c:v>
                </c:pt>
                <c:pt idx="8">
                  <c:v>17</c:v>
                </c:pt>
                <c:pt idx="9">
                  <c:v>1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B696-4B53-9F30-77C1BE06AE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59248200"/>
        <c:axId val="759241144"/>
      </c:lineChart>
      <c:catAx>
        <c:axId val="759248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9241144"/>
        <c:crosses val="autoZero"/>
        <c:auto val="1"/>
        <c:lblAlgn val="ctr"/>
        <c:lblOffset val="100"/>
        <c:noMultiLvlLbl val="0"/>
      </c:catAx>
      <c:valAx>
        <c:axId val="759241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9248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6B000E-1A2E-4D2B-BADE-37753AB93090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226AB8-ACBE-42E6-92F5-667EDDCD96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577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BD421-E477-405A-91D4-9468DE9BE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024F0D-0F00-4C64-975C-BD7D4FE0E3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0E03-CFD6-4610-88AC-17F03CE8E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44536D-CBA9-4A34-85D3-481BD129E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C1F8E3-036A-45B8-BF1F-BEF0C559E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7444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6B1F3-61FB-4FDC-814D-EEC1C1FC3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2403B0-8D7F-4489-AB72-C346C88701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FC9304-E5BD-4F3E-ADB0-974FEBCDEA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8AD29-D9CD-42D8-9604-C47996EE9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52C394-EF43-405B-9653-70AAB9098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4523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D1E61D-2F00-41ED-8D92-7CAEB9A5A5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647491-5142-48CA-9664-F5082D450F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94576D-BE01-4BB5-A9F4-7DE4814E6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10CA14-AD61-4101-9143-F7884378CA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98B885-CFEA-4882-BBEA-C5F142089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6646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8C47AB-DC6F-40F0-B4FB-9C0850EE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0939C5-683A-4FDC-A8CF-5F35848AD6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FB5F0-A7AB-4ACB-91A6-4B836F174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1BCE02-CEFC-4D30-BBB0-23CE2CB5B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F49760-3E16-4F16-B710-C85178E29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80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EE07D-6026-47C0-975A-7E493011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00015-2956-4E1F-B05F-214F1DE24E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556B43-C1CB-4618-B91B-AAAEEB401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688E39-E80F-4C18-9C2A-69886B822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4C5964-5187-4195-8EAF-85D18DC4F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915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7B990-ED8C-4AAA-8241-C4881B13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6612F2-9E33-44D3-80E2-578C5440A7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8F7B21-660D-43B3-9151-B40C9ABCD7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26A10-CB05-4418-9338-CB55A7059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940335-9BE1-42D1-A30D-C3232BD3E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E95C68-4307-4B03-8921-74DB10410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209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EBEC8-AC56-429B-89C3-BB6A0E6E3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866BA-F48C-4383-B119-81B3496761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89F967-CBBC-414E-9DC3-136707A8D3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905A60-FBC4-40AC-9F71-0FAD9CD7A6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4F92BA-75D6-44F9-A1C8-BCFBF6FF6E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E93CDDC-3537-4692-BE83-87B2A82A7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F37B9E1-D5EA-4054-8D92-F930B36963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98A038-7CD6-4715-9FDA-7194E6BCA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039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65FAF-B698-49B0-B197-FD64C97AF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3E3F44-F1D6-40F7-9A7D-0542C4A9C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48CC28-3F4A-42A0-B211-4BA085AD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3B6C99-6764-43D0-84AE-52C83494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763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79C79D-3B8A-4FA9-BC4A-63E3EF10AA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730E35-44DB-4FED-9E24-5BBE5D9DA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CDC42F-3337-4692-B53C-A55290487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420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07D58-952D-44D7-9911-60544C9F5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5BC150-9914-4A82-84CF-B3708B975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4A7C02-9C7E-401F-BABE-D3028FF18C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D6080A-4623-4F4C-B5BF-7E9E7531FA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9B1D15-0BD5-4F6E-A265-BD1F2F361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F764D4-AA29-4DF8-A501-E2B904E9C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856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4D526-F53C-446D-8D7C-8A73C2A6A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341CC3D-D32B-4629-85B8-E779A41050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517242-BF08-4A5E-ABD7-483896CAE9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B2B8E4-DF23-4701-B28A-B9E5700B3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6DE909-4588-4CF5-B2FA-B76312433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EA005E-65C2-4007-815C-52F23809F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373118-F27D-412D-B19A-2DB8C8101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537CCC-B536-48B0-B893-63FFC2EBD3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E552F-73E7-48CE-AAB3-E947C535D5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0ACFF-56C3-4453-9BAD-A02FE717F83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40B4F-2015-4E9F-BCB3-E0BFA4AF9A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610C3C-BBD3-4864-98E4-5D7B08A62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680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mp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AE457D-0397-41A5-A1CF-4C80622841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033" b="10702"/>
          <a:stretch/>
        </p:blipFill>
        <p:spPr>
          <a:xfrm>
            <a:off x="292100" y="362320"/>
            <a:ext cx="11607800" cy="61333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016AF48-2AA8-4B78-82AB-CE8B9E71F21F}"/>
              </a:ext>
            </a:extLst>
          </p:cNvPr>
          <p:cNvSpPr/>
          <p:nvPr/>
        </p:nvSpPr>
        <p:spPr>
          <a:xfrm>
            <a:off x="0" y="613597"/>
            <a:ext cx="11216640" cy="329692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739A43-7308-4A45-800C-2B124CABFA5F}"/>
              </a:ext>
            </a:extLst>
          </p:cNvPr>
          <p:cNvSpPr/>
          <p:nvPr/>
        </p:nvSpPr>
        <p:spPr>
          <a:xfrm>
            <a:off x="7995920" y="2339394"/>
            <a:ext cx="3782060" cy="18224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Presented by</a:t>
            </a:r>
          </a:p>
          <a:p>
            <a:pPr algn="ctr"/>
            <a:r>
              <a:rPr lang="en-US" sz="3600" b="1" dirty="0">
                <a:solidFill>
                  <a:srgbClr val="C00000"/>
                </a:solidFill>
              </a:rPr>
              <a:t> </a:t>
            </a:r>
            <a:r>
              <a:rPr lang="en-US" sz="3600" b="1" dirty="0">
                <a:solidFill>
                  <a:schemeClr val="bg1"/>
                </a:solidFill>
              </a:rPr>
              <a:t>Oluwaseun Osen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C4CCBA-12AD-4433-A381-A03661E3D927}"/>
              </a:ext>
            </a:extLst>
          </p:cNvPr>
          <p:cNvSpPr txBox="1"/>
          <p:nvPr/>
        </p:nvSpPr>
        <p:spPr>
          <a:xfrm>
            <a:off x="96113" y="735304"/>
            <a:ext cx="10780574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+mj-lt"/>
              </a:rPr>
              <a:t>Shaun Mart Sales Report (2019-2020)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13FB2E-3CAE-DAC1-D7D2-358D22561896}"/>
              </a:ext>
            </a:extLst>
          </p:cNvPr>
          <p:cNvSpPr txBox="1"/>
          <p:nvPr/>
        </p:nvSpPr>
        <p:spPr>
          <a:xfrm>
            <a:off x="292100" y="1584961"/>
            <a:ext cx="5549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 Comprehensive Analysis of Sales Performance</a:t>
            </a:r>
          </a:p>
          <a:p>
            <a:endParaRPr lang="en-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49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3FDEA2-7375-CA00-8B1F-506C803BF7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4064"/>
            <a:ext cx="12192000" cy="6469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06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E8D9BCE-3713-31DF-8A35-A7C1690A26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3C12D01-0478-D804-2CA2-B3CE57859227}"/>
              </a:ext>
            </a:extLst>
          </p:cNvPr>
          <p:cNvSpPr txBox="1"/>
          <p:nvPr/>
        </p:nvSpPr>
        <p:spPr>
          <a:xfrm>
            <a:off x="2763520" y="56896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Insights and </a:t>
            </a:r>
            <a:r>
              <a:rPr lang="en-US" dirty="0">
                <a:solidFill>
                  <a:schemeClr val="tx1"/>
                </a:solidFill>
              </a:rPr>
              <a:t>Analysis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BB1E00-C456-5D4F-8D1E-E64B00AC6C82}"/>
              </a:ext>
            </a:extLst>
          </p:cNvPr>
          <p:cNvSpPr txBox="1"/>
          <p:nvPr/>
        </p:nvSpPr>
        <p:spPr>
          <a:xfrm>
            <a:off x="731520" y="1981200"/>
            <a:ext cx="10160000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PT" sz="3200" b="1" dirty="0"/>
              <a:t>Total Orders: </a:t>
            </a:r>
            <a:r>
              <a:rPr lang="pt-PT" sz="3200" dirty="0"/>
              <a:t>186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PT" sz="3200" b="1" dirty="0"/>
              <a:t>Total Revenue: </a:t>
            </a:r>
            <a:r>
              <a:rPr lang="pt-PT" sz="3200" dirty="0"/>
              <a:t>$34.49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PT" sz="3200" b="1" dirty="0"/>
              <a:t>Profit Margin: </a:t>
            </a:r>
            <a:r>
              <a:rPr lang="pt-PT" sz="3200" dirty="0"/>
              <a:t>58.83%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b="1" dirty="0"/>
              <a:t>Top Cities by Sales: </a:t>
            </a:r>
            <a:r>
              <a:rPr lang="en-US" sz="3200" dirty="0"/>
              <a:t>San Francisco, Los Angeles, New York C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b="1" dirty="0"/>
              <a:t>Best-Selling Products </a:t>
            </a:r>
            <a:r>
              <a:rPr lang="en-US" sz="3200" b="1"/>
              <a:t>by Revenue: </a:t>
            </a:r>
            <a:r>
              <a:rPr lang="en-US" sz="3200" dirty="0"/>
              <a:t>MacBook Pro, iPhone, ThinkPad Lapt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G" dirty="0"/>
          </a:p>
        </p:txBody>
      </p:sp>
    </p:spTree>
    <p:extLst>
      <p:ext uri="{BB962C8B-B14F-4D97-AF65-F5344CB8AC3E}">
        <p14:creationId xmlns:p14="http://schemas.microsoft.com/office/powerpoint/2010/main" val="1106722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2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382412" y="310773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PROBLEM </a:t>
            </a:r>
            <a:r>
              <a:rPr lang="en-US" sz="3200" dirty="0">
                <a:latin typeface="+mj-lt"/>
              </a:rPr>
              <a:t>STATEMENT</a:t>
            </a:r>
            <a:endParaRPr lang="en-US" sz="3600" dirty="0">
              <a:latin typeface="+mj-lt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25CC7E-9659-4033-AF7E-F4036E3423C9}"/>
              </a:ext>
            </a:extLst>
          </p:cNvPr>
          <p:cNvGrpSpPr/>
          <p:nvPr/>
        </p:nvGrpSpPr>
        <p:grpSpPr>
          <a:xfrm>
            <a:off x="4216400" y="2008772"/>
            <a:ext cx="3759200" cy="3758138"/>
            <a:chOff x="5540375" y="2870200"/>
            <a:chExt cx="1078219" cy="1077914"/>
          </a:xfrm>
          <a:solidFill>
            <a:schemeClr val="bg2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91B12C34-F8FA-4B08-9D46-F5EA12FAB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6" y="3429001"/>
              <a:ext cx="515938" cy="519113"/>
            </a:xfrm>
            <a:custGeom>
              <a:avLst/>
              <a:gdLst>
                <a:gd name="T0" fmla="*/ 172 w 172"/>
                <a:gd name="T1" fmla="*/ 90 h 173"/>
                <a:gd name="T2" fmla="*/ 172 w 172"/>
                <a:gd name="T3" fmla="*/ 173 h 173"/>
                <a:gd name="T4" fmla="*/ 0 w 172"/>
                <a:gd name="T5" fmla="*/ 0 h 173"/>
                <a:gd name="T6" fmla="*/ 82 w 172"/>
                <a:gd name="T7" fmla="*/ 0 h 173"/>
                <a:gd name="T8" fmla="*/ 172 w 172"/>
                <a:gd name="T9" fmla="*/ 9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73">
                  <a:moveTo>
                    <a:pt x="172" y="90"/>
                  </a:moveTo>
                  <a:cubicBezTo>
                    <a:pt x="172" y="173"/>
                    <a:pt x="172" y="173"/>
                    <a:pt x="172" y="173"/>
                  </a:cubicBezTo>
                  <a:cubicBezTo>
                    <a:pt x="80" y="166"/>
                    <a:pt x="6" y="93"/>
                    <a:pt x="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8" y="47"/>
                    <a:pt x="125" y="84"/>
                    <a:pt x="172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6E57602-3060-43F3-8678-84886548F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894" y="3429001"/>
              <a:ext cx="520700" cy="519113"/>
            </a:xfrm>
            <a:custGeom>
              <a:avLst/>
              <a:gdLst>
                <a:gd name="T0" fmla="*/ 90 w 173"/>
                <a:gd name="T1" fmla="*/ 0 h 173"/>
                <a:gd name="T2" fmla="*/ 173 w 173"/>
                <a:gd name="T3" fmla="*/ 0 h 173"/>
                <a:gd name="T4" fmla="*/ 0 w 173"/>
                <a:gd name="T5" fmla="*/ 173 h 173"/>
                <a:gd name="T6" fmla="*/ 0 w 173"/>
                <a:gd name="T7" fmla="*/ 90 h 173"/>
                <a:gd name="T8" fmla="*/ 90 w 173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3">
                  <a:moveTo>
                    <a:pt x="90" y="0"/>
                  </a:moveTo>
                  <a:cubicBezTo>
                    <a:pt x="173" y="0"/>
                    <a:pt x="173" y="0"/>
                    <a:pt x="173" y="0"/>
                  </a:cubicBezTo>
                  <a:cubicBezTo>
                    <a:pt x="166" y="93"/>
                    <a:pt x="92" y="166"/>
                    <a:pt x="0" y="173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47" y="84"/>
                    <a:pt x="84" y="47"/>
                    <a:pt x="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2252E87A-6A81-40D1-9461-95D5224F0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894" y="2870200"/>
              <a:ext cx="520700" cy="515938"/>
            </a:xfrm>
            <a:custGeom>
              <a:avLst/>
              <a:gdLst>
                <a:gd name="T0" fmla="*/ 0 w 173"/>
                <a:gd name="T1" fmla="*/ 82 h 172"/>
                <a:gd name="T2" fmla="*/ 0 w 173"/>
                <a:gd name="T3" fmla="*/ 0 h 172"/>
                <a:gd name="T4" fmla="*/ 173 w 173"/>
                <a:gd name="T5" fmla="*/ 172 h 172"/>
                <a:gd name="T6" fmla="*/ 90 w 173"/>
                <a:gd name="T7" fmla="*/ 172 h 172"/>
                <a:gd name="T8" fmla="*/ 0 w 173"/>
                <a:gd name="T9" fmla="*/ 8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2">
                  <a:moveTo>
                    <a:pt x="0" y="8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2" y="7"/>
                    <a:pt x="166" y="80"/>
                    <a:pt x="173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84" y="126"/>
                    <a:pt x="47" y="88"/>
                    <a:pt x="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ADBD0F45-41D0-4808-9E29-70A3C395B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5" y="2870200"/>
              <a:ext cx="515938" cy="515938"/>
            </a:xfrm>
            <a:custGeom>
              <a:avLst/>
              <a:gdLst>
                <a:gd name="T0" fmla="*/ 82 w 172"/>
                <a:gd name="T1" fmla="*/ 172 h 172"/>
                <a:gd name="T2" fmla="*/ 0 w 172"/>
                <a:gd name="T3" fmla="*/ 172 h 172"/>
                <a:gd name="T4" fmla="*/ 172 w 172"/>
                <a:gd name="T5" fmla="*/ 0 h 172"/>
                <a:gd name="T6" fmla="*/ 172 w 172"/>
                <a:gd name="T7" fmla="*/ 82 h 172"/>
                <a:gd name="T8" fmla="*/ 82 w 172"/>
                <a:gd name="T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72">
                  <a:moveTo>
                    <a:pt x="82" y="172"/>
                  </a:moveTo>
                  <a:cubicBezTo>
                    <a:pt x="0" y="172"/>
                    <a:pt x="0" y="172"/>
                    <a:pt x="0" y="172"/>
                  </a:cubicBezTo>
                  <a:cubicBezTo>
                    <a:pt x="6" y="80"/>
                    <a:pt x="80" y="7"/>
                    <a:pt x="172" y="0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25" y="88"/>
                    <a:pt x="88" y="126"/>
                    <a:pt x="82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D570AF8D-5346-44BD-82DE-4E39FE2807C5}"/>
              </a:ext>
            </a:extLst>
          </p:cNvPr>
          <p:cNvSpPr/>
          <p:nvPr/>
        </p:nvSpPr>
        <p:spPr>
          <a:xfrm>
            <a:off x="6931221" y="2007679"/>
            <a:ext cx="1189350" cy="119200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2050594-ED75-4BD6-9F30-3FF422F2D107}"/>
              </a:ext>
            </a:extLst>
          </p:cNvPr>
          <p:cNvSpPr/>
          <p:nvPr/>
        </p:nvSpPr>
        <p:spPr>
          <a:xfrm>
            <a:off x="4071428" y="2007679"/>
            <a:ext cx="1189351" cy="119200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8342780-6568-4E96-8C62-B4B262CB8969}"/>
              </a:ext>
            </a:extLst>
          </p:cNvPr>
          <p:cNvSpPr/>
          <p:nvPr/>
        </p:nvSpPr>
        <p:spPr>
          <a:xfrm>
            <a:off x="6931221" y="4576001"/>
            <a:ext cx="1052680" cy="10526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2195816-E0EF-4C06-9319-FA2742100C34}"/>
              </a:ext>
            </a:extLst>
          </p:cNvPr>
          <p:cNvSpPr/>
          <p:nvPr/>
        </p:nvSpPr>
        <p:spPr>
          <a:xfrm>
            <a:off x="4208099" y="4576001"/>
            <a:ext cx="1052680" cy="10526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F8A7EC5-3DC6-491A-B43F-24CA6DEFBE61}"/>
              </a:ext>
            </a:extLst>
          </p:cNvPr>
          <p:cNvGrpSpPr/>
          <p:nvPr/>
        </p:nvGrpSpPr>
        <p:grpSpPr>
          <a:xfrm>
            <a:off x="711318" y="2147001"/>
            <a:ext cx="10769364" cy="3745868"/>
            <a:chOff x="788154" y="2147001"/>
            <a:chExt cx="10769364" cy="374586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A8B7CBA-912D-4B48-A3A6-8510F1ACEF46}"/>
                </a:ext>
              </a:extLst>
            </p:cNvPr>
            <p:cNvSpPr txBox="1"/>
            <p:nvPr/>
          </p:nvSpPr>
          <p:spPr>
            <a:xfrm>
              <a:off x="8324290" y="2147002"/>
              <a:ext cx="3233228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400" b="1" dirty="0"/>
                <a:t>The sales data contains inconsistencies and unstructured formats, making it difficult to derive meaningful insights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2B1BDB2-A577-4B8C-86DE-9B1FA359B37E}"/>
                </a:ext>
              </a:extLst>
            </p:cNvPr>
            <p:cNvSpPr txBox="1"/>
            <p:nvPr/>
          </p:nvSpPr>
          <p:spPr>
            <a:xfrm>
              <a:off x="8324290" y="5351682"/>
              <a:ext cx="323322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dirty="0"/>
                <a:t>LEARNING/GROWTH PERSPECTIV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EE0DDEB-94B0-4768-9871-27F6BE297153}"/>
                </a:ext>
              </a:extLst>
            </p:cNvPr>
            <p:cNvSpPr txBox="1"/>
            <p:nvPr/>
          </p:nvSpPr>
          <p:spPr>
            <a:xfrm>
              <a:off x="788154" y="2147001"/>
              <a:ext cx="3218254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b="1" dirty="0"/>
                <a:t>Large volume of sales data with inconsistencie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CC98909-5ABB-4A3D-BC52-5BB105E69483}"/>
                </a:ext>
              </a:extLst>
            </p:cNvPr>
            <p:cNvSpPr txBox="1"/>
            <p:nvPr/>
          </p:nvSpPr>
          <p:spPr>
            <a:xfrm>
              <a:off x="913403" y="4415541"/>
              <a:ext cx="3233228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400" b="1" dirty="0"/>
                <a:t>Identifying trends in sales performance across different time periods and locations.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0BC7EC5-CF5A-4777-899B-862EC1A05046}"/>
              </a:ext>
            </a:extLst>
          </p:cNvPr>
          <p:cNvGrpSpPr/>
          <p:nvPr/>
        </p:nvGrpSpPr>
        <p:grpSpPr>
          <a:xfrm>
            <a:off x="4283034" y="2326641"/>
            <a:ext cx="625246" cy="506136"/>
            <a:chOff x="3171825" y="1368425"/>
            <a:chExt cx="287338" cy="263526"/>
          </a:xfrm>
          <a:solidFill>
            <a:schemeClr val="bg1"/>
          </a:solidFill>
        </p:grpSpPr>
        <p:sp>
          <p:nvSpPr>
            <p:cNvPr id="45" name="Freeform 466">
              <a:extLst>
                <a:ext uri="{FF2B5EF4-FFF2-40B4-BE49-F238E27FC236}">
                  <a16:creationId xmlns:a16="http://schemas.microsoft.com/office/drawing/2014/main" id="{702A50DF-26AE-40A8-A0D7-04CFE16F6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98613"/>
              <a:ext cx="49213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136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67">
              <a:extLst>
                <a:ext uri="{FF2B5EF4-FFF2-40B4-BE49-F238E27FC236}">
                  <a16:creationId xmlns:a16="http://schemas.microsoft.com/office/drawing/2014/main" id="{DA3B7233-0091-4651-BC08-4E03A17F7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98613"/>
              <a:ext cx="28575" cy="33338"/>
            </a:xfrm>
            <a:custGeom>
              <a:avLst/>
              <a:gdLst>
                <a:gd name="T0" fmla="*/ 75 w 90"/>
                <a:gd name="T1" fmla="*/ 0 h 106"/>
                <a:gd name="T2" fmla="*/ 0 w 90"/>
                <a:gd name="T3" fmla="*/ 0 h 106"/>
                <a:gd name="T4" fmla="*/ 0 w 90"/>
                <a:gd name="T5" fmla="*/ 106 h 106"/>
                <a:gd name="T6" fmla="*/ 75 w 90"/>
                <a:gd name="T7" fmla="*/ 106 h 106"/>
                <a:gd name="T8" fmla="*/ 78 w 90"/>
                <a:gd name="T9" fmla="*/ 106 h 106"/>
                <a:gd name="T10" fmla="*/ 80 w 90"/>
                <a:gd name="T11" fmla="*/ 104 h 106"/>
                <a:gd name="T12" fmla="*/ 84 w 90"/>
                <a:gd name="T13" fmla="*/ 103 h 106"/>
                <a:gd name="T14" fmla="*/ 86 w 90"/>
                <a:gd name="T15" fmla="*/ 101 h 106"/>
                <a:gd name="T16" fmla="*/ 88 w 90"/>
                <a:gd name="T17" fmla="*/ 99 h 106"/>
                <a:gd name="T18" fmla="*/ 89 w 90"/>
                <a:gd name="T19" fmla="*/ 97 h 106"/>
                <a:gd name="T20" fmla="*/ 90 w 90"/>
                <a:gd name="T21" fmla="*/ 94 h 106"/>
                <a:gd name="T22" fmla="*/ 90 w 90"/>
                <a:gd name="T23" fmla="*/ 91 h 106"/>
                <a:gd name="T24" fmla="*/ 90 w 90"/>
                <a:gd name="T25" fmla="*/ 15 h 106"/>
                <a:gd name="T26" fmla="*/ 90 w 90"/>
                <a:gd name="T27" fmla="*/ 12 h 106"/>
                <a:gd name="T28" fmla="*/ 89 w 90"/>
                <a:gd name="T29" fmla="*/ 10 h 106"/>
                <a:gd name="T30" fmla="*/ 88 w 90"/>
                <a:gd name="T31" fmla="*/ 7 h 106"/>
                <a:gd name="T32" fmla="*/ 86 w 90"/>
                <a:gd name="T33" fmla="*/ 5 h 106"/>
                <a:gd name="T34" fmla="*/ 84 w 90"/>
                <a:gd name="T35" fmla="*/ 4 h 106"/>
                <a:gd name="T36" fmla="*/ 80 w 90"/>
                <a:gd name="T37" fmla="*/ 2 h 106"/>
                <a:gd name="T38" fmla="*/ 78 w 90"/>
                <a:gd name="T39" fmla="*/ 2 h 106"/>
                <a:gd name="T40" fmla="*/ 75 w 90"/>
                <a:gd name="T41" fmla="*/ 0 h 106"/>
                <a:gd name="T42" fmla="*/ 7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75" y="0"/>
                  </a:move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8" y="106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8">
              <a:extLst>
                <a:ext uri="{FF2B5EF4-FFF2-40B4-BE49-F238E27FC236}">
                  <a16:creationId xmlns:a16="http://schemas.microsoft.com/office/drawing/2014/main" id="{8BE0E7F9-3A01-4509-A754-8447231AD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98613"/>
              <a:ext cx="28575" cy="33338"/>
            </a:xfrm>
            <a:custGeom>
              <a:avLst/>
              <a:gdLst>
                <a:gd name="T0" fmla="*/ 15 w 90"/>
                <a:gd name="T1" fmla="*/ 0 h 106"/>
                <a:gd name="T2" fmla="*/ 11 w 90"/>
                <a:gd name="T3" fmla="*/ 0 h 106"/>
                <a:gd name="T4" fmla="*/ 9 w 90"/>
                <a:gd name="T5" fmla="*/ 2 h 106"/>
                <a:gd name="T6" fmla="*/ 6 w 90"/>
                <a:gd name="T7" fmla="*/ 4 h 106"/>
                <a:gd name="T8" fmla="*/ 4 w 90"/>
                <a:gd name="T9" fmla="*/ 5 h 106"/>
                <a:gd name="T10" fmla="*/ 3 w 90"/>
                <a:gd name="T11" fmla="*/ 7 h 106"/>
                <a:gd name="T12" fmla="*/ 1 w 90"/>
                <a:gd name="T13" fmla="*/ 10 h 106"/>
                <a:gd name="T14" fmla="*/ 0 w 90"/>
                <a:gd name="T15" fmla="*/ 12 h 106"/>
                <a:gd name="T16" fmla="*/ 0 w 90"/>
                <a:gd name="T17" fmla="*/ 15 h 106"/>
                <a:gd name="T18" fmla="*/ 0 w 90"/>
                <a:gd name="T19" fmla="*/ 91 h 106"/>
                <a:gd name="T20" fmla="*/ 0 w 90"/>
                <a:gd name="T21" fmla="*/ 94 h 106"/>
                <a:gd name="T22" fmla="*/ 1 w 90"/>
                <a:gd name="T23" fmla="*/ 97 h 106"/>
                <a:gd name="T24" fmla="*/ 3 w 90"/>
                <a:gd name="T25" fmla="*/ 99 h 106"/>
                <a:gd name="T26" fmla="*/ 4 w 90"/>
                <a:gd name="T27" fmla="*/ 101 h 106"/>
                <a:gd name="T28" fmla="*/ 6 w 90"/>
                <a:gd name="T29" fmla="*/ 103 h 106"/>
                <a:gd name="T30" fmla="*/ 9 w 90"/>
                <a:gd name="T31" fmla="*/ 104 h 106"/>
                <a:gd name="T32" fmla="*/ 11 w 90"/>
                <a:gd name="T33" fmla="*/ 106 h 106"/>
                <a:gd name="T34" fmla="*/ 15 w 90"/>
                <a:gd name="T35" fmla="*/ 106 h 106"/>
                <a:gd name="T36" fmla="*/ 90 w 90"/>
                <a:gd name="T37" fmla="*/ 106 h 106"/>
                <a:gd name="T38" fmla="*/ 90 w 90"/>
                <a:gd name="T39" fmla="*/ 0 h 106"/>
                <a:gd name="T40" fmla="*/ 75 w 90"/>
                <a:gd name="T41" fmla="*/ 0 h 106"/>
                <a:gd name="T42" fmla="*/ 1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15" y="0"/>
                  </a:moveTo>
                  <a:lnTo>
                    <a:pt x="11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69">
              <a:extLst>
                <a:ext uri="{FF2B5EF4-FFF2-40B4-BE49-F238E27FC236}">
                  <a16:creationId xmlns:a16="http://schemas.microsoft.com/office/drawing/2014/main" id="{782C6C3E-64B1-4844-9D25-E9E74DEC2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22413"/>
              <a:ext cx="49213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136 w 151"/>
                <a:gd name="T5" fmla="*/ 0 h 105"/>
                <a:gd name="T6" fmla="*/ 0 w 151"/>
                <a:gd name="T7" fmla="*/ 0 h 105"/>
                <a:gd name="T8" fmla="*/ 0 w 151"/>
                <a:gd name="T9" fmla="*/ 105 h 105"/>
                <a:gd name="T10" fmla="*/ 136 w 151"/>
                <a:gd name="T11" fmla="*/ 105 h 105"/>
                <a:gd name="T12" fmla="*/ 151 w 151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36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70">
              <a:extLst>
                <a:ext uri="{FF2B5EF4-FFF2-40B4-BE49-F238E27FC236}">
                  <a16:creationId xmlns:a16="http://schemas.microsoft.com/office/drawing/2014/main" id="{9D58C9B0-D6F1-4F65-B16F-E000E2C75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22413"/>
              <a:ext cx="28575" cy="33338"/>
            </a:xfrm>
            <a:custGeom>
              <a:avLst/>
              <a:gdLst>
                <a:gd name="T0" fmla="*/ 15 w 90"/>
                <a:gd name="T1" fmla="*/ 0 h 105"/>
                <a:gd name="T2" fmla="*/ 11 w 90"/>
                <a:gd name="T3" fmla="*/ 0 h 105"/>
                <a:gd name="T4" fmla="*/ 9 w 90"/>
                <a:gd name="T5" fmla="*/ 1 h 105"/>
                <a:gd name="T6" fmla="*/ 6 w 90"/>
                <a:gd name="T7" fmla="*/ 2 h 105"/>
                <a:gd name="T8" fmla="*/ 4 w 90"/>
                <a:gd name="T9" fmla="*/ 4 h 105"/>
                <a:gd name="T10" fmla="*/ 3 w 90"/>
                <a:gd name="T11" fmla="*/ 7 h 105"/>
                <a:gd name="T12" fmla="*/ 1 w 90"/>
                <a:gd name="T13" fmla="*/ 9 h 105"/>
                <a:gd name="T14" fmla="*/ 0 w 90"/>
                <a:gd name="T15" fmla="*/ 12 h 105"/>
                <a:gd name="T16" fmla="*/ 0 w 90"/>
                <a:gd name="T17" fmla="*/ 15 h 105"/>
                <a:gd name="T18" fmla="*/ 0 w 90"/>
                <a:gd name="T19" fmla="*/ 90 h 105"/>
                <a:gd name="T20" fmla="*/ 0 w 90"/>
                <a:gd name="T21" fmla="*/ 93 h 105"/>
                <a:gd name="T22" fmla="*/ 1 w 90"/>
                <a:gd name="T23" fmla="*/ 96 h 105"/>
                <a:gd name="T24" fmla="*/ 3 w 90"/>
                <a:gd name="T25" fmla="*/ 99 h 105"/>
                <a:gd name="T26" fmla="*/ 4 w 90"/>
                <a:gd name="T27" fmla="*/ 101 h 105"/>
                <a:gd name="T28" fmla="*/ 6 w 90"/>
                <a:gd name="T29" fmla="*/ 102 h 105"/>
                <a:gd name="T30" fmla="*/ 9 w 90"/>
                <a:gd name="T31" fmla="*/ 104 h 105"/>
                <a:gd name="T32" fmla="*/ 11 w 90"/>
                <a:gd name="T33" fmla="*/ 105 h 105"/>
                <a:gd name="T34" fmla="*/ 15 w 90"/>
                <a:gd name="T35" fmla="*/ 105 h 105"/>
                <a:gd name="T36" fmla="*/ 7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  <a:gd name="T42" fmla="*/ 75 w 90"/>
                <a:gd name="T43" fmla="*/ 0 h 105"/>
                <a:gd name="T44" fmla="*/ 15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15" y="0"/>
                  </a:move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71">
              <a:extLst>
                <a:ext uri="{FF2B5EF4-FFF2-40B4-BE49-F238E27FC236}">
                  <a16:creationId xmlns:a16="http://schemas.microsoft.com/office/drawing/2014/main" id="{D165E165-50E3-48AC-99C8-289D7588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22413"/>
              <a:ext cx="28575" cy="33338"/>
            </a:xfrm>
            <a:custGeom>
              <a:avLst/>
              <a:gdLst>
                <a:gd name="T0" fmla="*/ 75 w 90"/>
                <a:gd name="T1" fmla="*/ 0 h 105"/>
                <a:gd name="T2" fmla="*/ 0 w 90"/>
                <a:gd name="T3" fmla="*/ 0 h 105"/>
                <a:gd name="T4" fmla="*/ 0 w 90"/>
                <a:gd name="T5" fmla="*/ 105 h 105"/>
                <a:gd name="T6" fmla="*/ 75 w 90"/>
                <a:gd name="T7" fmla="*/ 105 h 105"/>
                <a:gd name="T8" fmla="*/ 78 w 90"/>
                <a:gd name="T9" fmla="*/ 105 h 105"/>
                <a:gd name="T10" fmla="*/ 80 w 90"/>
                <a:gd name="T11" fmla="*/ 104 h 105"/>
                <a:gd name="T12" fmla="*/ 84 w 90"/>
                <a:gd name="T13" fmla="*/ 102 h 105"/>
                <a:gd name="T14" fmla="*/ 86 w 90"/>
                <a:gd name="T15" fmla="*/ 101 h 105"/>
                <a:gd name="T16" fmla="*/ 88 w 90"/>
                <a:gd name="T17" fmla="*/ 99 h 105"/>
                <a:gd name="T18" fmla="*/ 89 w 90"/>
                <a:gd name="T19" fmla="*/ 96 h 105"/>
                <a:gd name="T20" fmla="*/ 90 w 90"/>
                <a:gd name="T21" fmla="*/ 93 h 105"/>
                <a:gd name="T22" fmla="*/ 90 w 90"/>
                <a:gd name="T23" fmla="*/ 90 h 105"/>
                <a:gd name="T24" fmla="*/ 90 w 90"/>
                <a:gd name="T25" fmla="*/ 15 h 105"/>
                <a:gd name="T26" fmla="*/ 90 w 90"/>
                <a:gd name="T27" fmla="*/ 12 h 105"/>
                <a:gd name="T28" fmla="*/ 89 w 90"/>
                <a:gd name="T29" fmla="*/ 9 h 105"/>
                <a:gd name="T30" fmla="*/ 88 w 90"/>
                <a:gd name="T31" fmla="*/ 7 h 105"/>
                <a:gd name="T32" fmla="*/ 86 w 90"/>
                <a:gd name="T33" fmla="*/ 4 h 105"/>
                <a:gd name="T34" fmla="*/ 84 w 90"/>
                <a:gd name="T35" fmla="*/ 2 h 105"/>
                <a:gd name="T36" fmla="*/ 80 w 90"/>
                <a:gd name="T37" fmla="*/ 1 h 105"/>
                <a:gd name="T38" fmla="*/ 78 w 90"/>
                <a:gd name="T39" fmla="*/ 0 h 105"/>
                <a:gd name="T40" fmla="*/ 75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75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72">
              <a:extLst>
                <a:ext uri="{FF2B5EF4-FFF2-40B4-BE49-F238E27FC236}">
                  <a16:creationId xmlns:a16="http://schemas.microsoft.com/office/drawing/2014/main" id="{B7A08D7F-36C8-46DF-A4D8-6B9FD2EAC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0875" y="14462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4 h 105"/>
                <a:gd name="T12" fmla="*/ 3 w 90"/>
                <a:gd name="T13" fmla="*/ 6 h 105"/>
                <a:gd name="T14" fmla="*/ 1 w 90"/>
                <a:gd name="T15" fmla="*/ 9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3 h 105"/>
                <a:gd name="T24" fmla="*/ 1 w 90"/>
                <a:gd name="T25" fmla="*/ 96 h 105"/>
                <a:gd name="T26" fmla="*/ 3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45 w 90"/>
                <a:gd name="T39" fmla="*/ 105 h 105"/>
                <a:gd name="T40" fmla="*/ 90 w 90"/>
                <a:gd name="T41" fmla="*/ 105 h 105"/>
                <a:gd name="T42" fmla="*/ 90 w 90"/>
                <a:gd name="T4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73">
              <a:extLst>
                <a:ext uri="{FF2B5EF4-FFF2-40B4-BE49-F238E27FC236}">
                  <a16:creationId xmlns:a16="http://schemas.microsoft.com/office/drawing/2014/main" id="{82F7C6A0-5A3C-411C-86FD-64BAFC963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14462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46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06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4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6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74">
              <a:extLst>
                <a:ext uri="{FF2B5EF4-FFF2-40B4-BE49-F238E27FC236}">
                  <a16:creationId xmlns:a16="http://schemas.microsoft.com/office/drawing/2014/main" id="{474F5D71-8DA6-432C-A5BE-556F66E1E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713" y="1446213"/>
              <a:ext cx="28575" cy="33338"/>
            </a:xfrm>
            <a:custGeom>
              <a:avLst/>
              <a:gdLst>
                <a:gd name="T0" fmla="*/ 90 w 90"/>
                <a:gd name="T1" fmla="*/ 15 h 105"/>
                <a:gd name="T2" fmla="*/ 90 w 90"/>
                <a:gd name="T3" fmla="*/ 12 h 105"/>
                <a:gd name="T4" fmla="*/ 89 w 90"/>
                <a:gd name="T5" fmla="*/ 9 h 105"/>
                <a:gd name="T6" fmla="*/ 88 w 90"/>
                <a:gd name="T7" fmla="*/ 6 h 105"/>
                <a:gd name="T8" fmla="*/ 86 w 90"/>
                <a:gd name="T9" fmla="*/ 4 h 105"/>
                <a:gd name="T10" fmla="*/ 84 w 90"/>
                <a:gd name="T11" fmla="*/ 2 h 105"/>
                <a:gd name="T12" fmla="*/ 81 w 90"/>
                <a:gd name="T13" fmla="*/ 1 h 105"/>
                <a:gd name="T14" fmla="*/ 78 w 90"/>
                <a:gd name="T15" fmla="*/ 0 h 105"/>
                <a:gd name="T16" fmla="*/ 75 w 90"/>
                <a:gd name="T17" fmla="*/ 0 h 105"/>
                <a:gd name="T18" fmla="*/ 45 w 90"/>
                <a:gd name="T19" fmla="*/ 0 h 105"/>
                <a:gd name="T20" fmla="*/ 0 w 90"/>
                <a:gd name="T21" fmla="*/ 0 h 105"/>
                <a:gd name="T22" fmla="*/ 0 w 90"/>
                <a:gd name="T23" fmla="*/ 105 h 105"/>
                <a:gd name="T24" fmla="*/ 75 w 90"/>
                <a:gd name="T25" fmla="*/ 105 h 105"/>
                <a:gd name="T26" fmla="*/ 78 w 90"/>
                <a:gd name="T27" fmla="*/ 105 h 105"/>
                <a:gd name="T28" fmla="*/ 81 w 90"/>
                <a:gd name="T29" fmla="*/ 104 h 105"/>
                <a:gd name="T30" fmla="*/ 84 w 90"/>
                <a:gd name="T31" fmla="*/ 103 h 105"/>
                <a:gd name="T32" fmla="*/ 86 w 90"/>
                <a:gd name="T33" fmla="*/ 101 h 105"/>
                <a:gd name="T34" fmla="*/ 88 w 90"/>
                <a:gd name="T35" fmla="*/ 99 h 105"/>
                <a:gd name="T36" fmla="*/ 89 w 90"/>
                <a:gd name="T37" fmla="*/ 96 h 105"/>
                <a:gd name="T38" fmla="*/ 90 w 90"/>
                <a:gd name="T39" fmla="*/ 93 h 105"/>
                <a:gd name="T40" fmla="*/ 90 w 90"/>
                <a:gd name="T41" fmla="*/ 90 h 105"/>
                <a:gd name="T42" fmla="*/ 90 w 90"/>
                <a:gd name="T43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15"/>
                  </a:moveTo>
                  <a:lnTo>
                    <a:pt x="90" y="12"/>
                  </a:lnTo>
                  <a:lnTo>
                    <a:pt x="89" y="9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75">
              <a:extLst>
                <a:ext uri="{FF2B5EF4-FFF2-40B4-BE49-F238E27FC236}">
                  <a16:creationId xmlns:a16="http://schemas.microsoft.com/office/drawing/2014/main" id="{EFC60682-DC08-4513-90A9-33CE5FE6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08113"/>
              <a:ext cx="30163" cy="33338"/>
            </a:xfrm>
            <a:custGeom>
              <a:avLst/>
              <a:gdLst>
                <a:gd name="T0" fmla="*/ 0 w 91"/>
                <a:gd name="T1" fmla="*/ 90 h 105"/>
                <a:gd name="T2" fmla="*/ 1 w 91"/>
                <a:gd name="T3" fmla="*/ 93 h 105"/>
                <a:gd name="T4" fmla="*/ 1 w 91"/>
                <a:gd name="T5" fmla="*/ 95 h 105"/>
                <a:gd name="T6" fmla="*/ 3 w 91"/>
                <a:gd name="T7" fmla="*/ 98 h 105"/>
                <a:gd name="T8" fmla="*/ 4 w 91"/>
                <a:gd name="T9" fmla="*/ 101 h 105"/>
                <a:gd name="T10" fmla="*/ 7 w 91"/>
                <a:gd name="T11" fmla="*/ 103 h 105"/>
                <a:gd name="T12" fmla="*/ 9 w 91"/>
                <a:gd name="T13" fmla="*/ 104 h 105"/>
                <a:gd name="T14" fmla="*/ 13 w 91"/>
                <a:gd name="T15" fmla="*/ 105 h 105"/>
                <a:gd name="T16" fmla="*/ 15 w 91"/>
                <a:gd name="T17" fmla="*/ 105 h 105"/>
                <a:gd name="T18" fmla="*/ 45 w 91"/>
                <a:gd name="T19" fmla="*/ 105 h 105"/>
                <a:gd name="T20" fmla="*/ 91 w 91"/>
                <a:gd name="T21" fmla="*/ 105 h 105"/>
                <a:gd name="T22" fmla="*/ 91 w 91"/>
                <a:gd name="T23" fmla="*/ 0 h 105"/>
                <a:gd name="T24" fmla="*/ 15 w 91"/>
                <a:gd name="T25" fmla="*/ 0 h 105"/>
                <a:gd name="T26" fmla="*/ 13 w 91"/>
                <a:gd name="T27" fmla="*/ 0 h 105"/>
                <a:gd name="T28" fmla="*/ 9 w 91"/>
                <a:gd name="T29" fmla="*/ 1 h 105"/>
                <a:gd name="T30" fmla="*/ 7 w 91"/>
                <a:gd name="T31" fmla="*/ 2 h 105"/>
                <a:gd name="T32" fmla="*/ 4 w 91"/>
                <a:gd name="T33" fmla="*/ 4 h 105"/>
                <a:gd name="T34" fmla="*/ 3 w 91"/>
                <a:gd name="T35" fmla="*/ 6 h 105"/>
                <a:gd name="T36" fmla="*/ 1 w 91"/>
                <a:gd name="T37" fmla="*/ 8 h 105"/>
                <a:gd name="T38" fmla="*/ 1 w 91"/>
                <a:gd name="T39" fmla="*/ 11 h 105"/>
                <a:gd name="T40" fmla="*/ 0 w 91"/>
                <a:gd name="T41" fmla="*/ 15 h 105"/>
                <a:gd name="T42" fmla="*/ 0 w 91"/>
                <a:gd name="T43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0" y="90"/>
                  </a:moveTo>
                  <a:lnTo>
                    <a:pt x="1" y="93"/>
                  </a:lnTo>
                  <a:lnTo>
                    <a:pt x="1" y="95"/>
                  </a:lnTo>
                  <a:lnTo>
                    <a:pt x="3" y="98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9" y="104"/>
                  </a:lnTo>
                  <a:lnTo>
                    <a:pt x="13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1" y="105"/>
                  </a:lnTo>
                  <a:lnTo>
                    <a:pt x="91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76">
              <a:extLst>
                <a:ext uri="{FF2B5EF4-FFF2-40B4-BE49-F238E27FC236}">
                  <a16:creationId xmlns:a16="http://schemas.microsoft.com/office/drawing/2014/main" id="{222251CC-BAF2-453F-A03D-26725BC9E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1408113"/>
              <a:ext cx="47625" cy="33338"/>
            </a:xfrm>
            <a:custGeom>
              <a:avLst/>
              <a:gdLst>
                <a:gd name="T0" fmla="*/ 0 w 150"/>
                <a:gd name="T1" fmla="*/ 105 h 105"/>
                <a:gd name="T2" fmla="*/ 105 w 150"/>
                <a:gd name="T3" fmla="*/ 105 h 105"/>
                <a:gd name="T4" fmla="*/ 150 w 150"/>
                <a:gd name="T5" fmla="*/ 105 h 105"/>
                <a:gd name="T6" fmla="*/ 150 w 150"/>
                <a:gd name="T7" fmla="*/ 0 h 105"/>
                <a:gd name="T8" fmla="*/ 75 w 150"/>
                <a:gd name="T9" fmla="*/ 0 h 105"/>
                <a:gd name="T10" fmla="*/ 0 w 150"/>
                <a:gd name="T11" fmla="*/ 0 h 105"/>
                <a:gd name="T12" fmla="*/ 0 w 150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0" y="105"/>
                  </a:move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8">
              <a:extLst>
                <a:ext uri="{FF2B5EF4-FFF2-40B4-BE49-F238E27FC236}">
                  <a16:creationId xmlns:a16="http://schemas.microsoft.com/office/drawing/2014/main" id="{118E9D60-E83D-4157-A575-7E5CDC38B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763" y="1408113"/>
              <a:ext cx="28575" cy="33338"/>
            </a:xfrm>
            <a:custGeom>
              <a:avLst/>
              <a:gdLst>
                <a:gd name="T0" fmla="*/ 0 w 90"/>
                <a:gd name="T1" fmla="*/ 105 h 105"/>
                <a:gd name="T2" fmla="*/ 75 w 90"/>
                <a:gd name="T3" fmla="*/ 105 h 105"/>
                <a:gd name="T4" fmla="*/ 78 w 90"/>
                <a:gd name="T5" fmla="*/ 105 h 105"/>
                <a:gd name="T6" fmla="*/ 82 w 90"/>
                <a:gd name="T7" fmla="*/ 104 h 105"/>
                <a:gd name="T8" fmla="*/ 84 w 90"/>
                <a:gd name="T9" fmla="*/ 103 h 105"/>
                <a:gd name="T10" fmla="*/ 86 w 90"/>
                <a:gd name="T11" fmla="*/ 101 h 105"/>
                <a:gd name="T12" fmla="*/ 88 w 90"/>
                <a:gd name="T13" fmla="*/ 98 h 105"/>
                <a:gd name="T14" fmla="*/ 89 w 90"/>
                <a:gd name="T15" fmla="*/ 95 h 105"/>
                <a:gd name="T16" fmla="*/ 90 w 90"/>
                <a:gd name="T17" fmla="*/ 93 h 105"/>
                <a:gd name="T18" fmla="*/ 90 w 90"/>
                <a:gd name="T19" fmla="*/ 90 h 105"/>
                <a:gd name="T20" fmla="*/ 90 w 90"/>
                <a:gd name="T21" fmla="*/ 15 h 105"/>
                <a:gd name="T22" fmla="*/ 90 w 90"/>
                <a:gd name="T23" fmla="*/ 11 h 105"/>
                <a:gd name="T24" fmla="*/ 89 w 90"/>
                <a:gd name="T25" fmla="*/ 8 h 105"/>
                <a:gd name="T26" fmla="*/ 88 w 90"/>
                <a:gd name="T27" fmla="*/ 6 h 105"/>
                <a:gd name="T28" fmla="*/ 86 w 90"/>
                <a:gd name="T29" fmla="*/ 4 h 105"/>
                <a:gd name="T30" fmla="*/ 84 w 90"/>
                <a:gd name="T31" fmla="*/ 2 h 105"/>
                <a:gd name="T32" fmla="*/ 82 w 90"/>
                <a:gd name="T33" fmla="*/ 1 h 105"/>
                <a:gd name="T34" fmla="*/ 78 w 90"/>
                <a:gd name="T35" fmla="*/ 0 h 105"/>
                <a:gd name="T36" fmla="*/ 75 w 90"/>
                <a:gd name="T37" fmla="*/ 0 h 105"/>
                <a:gd name="T38" fmla="*/ 0 w 90"/>
                <a:gd name="T39" fmla="*/ 0 h 105"/>
                <a:gd name="T40" fmla="*/ 0 w 90"/>
                <a:gd name="T4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05"/>
                  </a:moveTo>
                  <a:lnTo>
                    <a:pt x="75" y="105"/>
                  </a:lnTo>
                  <a:lnTo>
                    <a:pt x="78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8"/>
                  </a:lnTo>
                  <a:lnTo>
                    <a:pt x="89" y="95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79">
              <a:extLst>
                <a:ext uri="{FF2B5EF4-FFF2-40B4-BE49-F238E27FC236}">
                  <a16:creationId xmlns:a16="http://schemas.microsoft.com/office/drawing/2014/main" id="{6C53AFA9-120A-4F0E-AF86-A1499E81C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560513"/>
              <a:ext cx="28575" cy="33338"/>
            </a:xfrm>
            <a:custGeom>
              <a:avLst/>
              <a:gdLst>
                <a:gd name="T0" fmla="*/ 90 w 90"/>
                <a:gd name="T1" fmla="*/ 90 h 105"/>
                <a:gd name="T2" fmla="*/ 90 w 90"/>
                <a:gd name="T3" fmla="*/ 15 h 105"/>
                <a:gd name="T4" fmla="*/ 90 w 90"/>
                <a:gd name="T5" fmla="*/ 12 h 105"/>
                <a:gd name="T6" fmla="*/ 89 w 90"/>
                <a:gd name="T7" fmla="*/ 9 h 105"/>
                <a:gd name="T8" fmla="*/ 88 w 90"/>
                <a:gd name="T9" fmla="*/ 7 h 105"/>
                <a:gd name="T10" fmla="*/ 86 w 90"/>
                <a:gd name="T11" fmla="*/ 5 h 105"/>
                <a:gd name="T12" fmla="*/ 84 w 90"/>
                <a:gd name="T13" fmla="*/ 2 h 105"/>
                <a:gd name="T14" fmla="*/ 80 w 90"/>
                <a:gd name="T15" fmla="*/ 1 h 105"/>
                <a:gd name="T16" fmla="*/ 78 w 90"/>
                <a:gd name="T17" fmla="*/ 0 h 105"/>
                <a:gd name="T18" fmla="*/ 75 w 90"/>
                <a:gd name="T19" fmla="*/ 0 h 105"/>
                <a:gd name="T20" fmla="*/ 15 w 90"/>
                <a:gd name="T21" fmla="*/ 0 h 105"/>
                <a:gd name="T22" fmla="*/ 0 w 90"/>
                <a:gd name="T23" fmla="*/ 0 h 105"/>
                <a:gd name="T24" fmla="*/ 0 w 90"/>
                <a:gd name="T25" fmla="*/ 105 h 105"/>
                <a:gd name="T26" fmla="*/ 15 w 90"/>
                <a:gd name="T27" fmla="*/ 105 h 105"/>
                <a:gd name="T28" fmla="*/ 75 w 90"/>
                <a:gd name="T29" fmla="*/ 105 h 105"/>
                <a:gd name="T30" fmla="*/ 78 w 90"/>
                <a:gd name="T31" fmla="*/ 105 h 105"/>
                <a:gd name="T32" fmla="*/ 80 w 90"/>
                <a:gd name="T33" fmla="*/ 104 h 105"/>
                <a:gd name="T34" fmla="*/ 84 w 90"/>
                <a:gd name="T35" fmla="*/ 103 h 105"/>
                <a:gd name="T36" fmla="*/ 86 w 90"/>
                <a:gd name="T37" fmla="*/ 101 h 105"/>
                <a:gd name="T38" fmla="*/ 88 w 90"/>
                <a:gd name="T39" fmla="*/ 99 h 105"/>
                <a:gd name="T40" fmla="*/ 89 w 90"/>
                <a:gd name="T41" fmla="*/ 97 h 105"/>
                <a:gd name="T42" fmla="*/ 90 w 90"/>
                <a:gd name="T43" fmla="*/ 94 h 105"/>
                <a:gd name="T44" fmla="*/ 90 w 90"/>
                <a:gd name="T45" fmla="*/ 90 h 105"/>
                <a:gd name="T46" fmla="*/ 90 w 90"/>
                <a:gd name="T4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0" h="105">
                  <a:moveTo>
                    <a:pt x="90" y="90"/>
                  </a:move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80">
              <a:extLst>
                <a:ext uri="{FF2B5EF4-FFF2-40B4-BE49-F238E27FC236}">
                  <a16:creationId xmlns:a16="http://schemas.microsoft.com/office/drawing/2014/main" id="{B0185E49-9072-4913-9246-B1001E606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5605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15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5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81">
              <a:extLst>
                <a:ext uri="{FF2B5EF4-FFF2-40B4-BE49-F238E27FC236}">
                  <a16:creationId xmlns:a16="http://schemas.microsoft.com/office/drawing/2014/main" id="{E27CCF52-DC57-4AF9-AD4F-65D717485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5 h 105"/>
                <a:gd name="T12" fmla="*/ 2 w 90"/>
                <a:gd name="T13" fmla="*/ 7 h 105"/>
                <a:gd name="T14" fmla="*/ 1 w 90"/>
                <a:gd name="T15" fmla="*/ 10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4 h 105"/>
                <a:gd name="T24" fmla="*/ 1 w 90"/>
                <a:gd name="T25" fmla="*/ 97 h 105"/>
                <a:gd name="T26" fmla="*/ 2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82">
              <a:extLst>
                <a:ext uri="{FF2B5EF4-FFF2-40B4-BE49-F238E27FC236}">
                  <a16:creationId xmlns:a16="http://schemas.microsoft.com/office/drawing/2014/main" id="{172677ED-54E0-48B7-9114-56035854E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84313"/>
              <a:ext cx="49213" cy="33338"/>
            </a:xfrm>
            <a:custGeom>
              <a:avLst/>
              <a:gdLst>
                <a:gd name="T0" fmla="*/ 151 w 151"/>
                <a:gd name="T1" fmla="*/ 106 h 106"/>
                <a:gd name="T2" fmla="*/ 151 w 151"/>
                <a:gd name="T3" fmla="*/ 0 h 106"/>
                <a:gd name="T4" fmla="*/ 45 w 151"/>
                <a:gd name="T5" fmla="*/ 0 h 106"/>
                <a:gd name="T6" fmla="*/ 0 w 151"/>
                <a:gd name="T7" fmla="*/ 0 h 106"/>
                <a:gd name="T8" fmla="*/ 0 w 151"/>
                <a:gd name="T9" fmla="*/ 106 h 106"/>
                <a:gd name="T10" fmla="*/ 15 w 151"/>
                <a:gd name="T11" fmla="*/ 106 h 106"/>
                <a:gd name="T12" fmla="*/ 151 w 151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6">
                  <a:moveTo>
                    <a:pt x="151" y="106"/>
                  </a:move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151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83">
              <a:extLst>
                <a:ext uri="{FF2B5EF4-FFF2-40B4-BE49-F238E27FC236}">
                  <a16:creationId xmlns:a16="http://schemas.microsoft.com/office/drawing/2014/main" id="{1EDA8B7F-B2A1-4A7F-B101-F2C988993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484313"/>
              <a:ext cx="28575" cy="33338"/>
            </a:xfrm>
            <a:custGeom>
              <a:avLst/>
              <a:gdLst>
                <a:gd name="T0" fmla="*/ 75 w 90"/>
                <a:gd name="T1" fmla="*/ 106 h 106"/>
                <a:gd name="T2" fmla="*/ 78 w 90"/>
                <a:gd name="T3" fmla="*/ 105 h 106"/>
                <a:gd name="T4" fmla="*/ 80 w 90"/>
                <a:gd name="T5" fmla="*/ 104 h 106"/>
                <a:gd name="T6" fmla="*/ 84 w 90"/>
                <a:gd name="T7" fmla="*/ 103 h 106"/>
                <a:gd name="T8" fmla="*/ 86 w 90"/>
                <a:gd name="T9" fmla="*/ 101 h 106"/>
                <a:gd name="T10" fmla="*/ 88 w 90"/>
                <a:gd name="T11" fmla="*/ 99 h 106"/>
                <a:gd name="T12" fmla="*/ 89 w 90"/>
                <a:gd name="T13" fmla="*/ 96 h 106"/>
                <a:gd name="T14" fmla="*/ 90 w 90"/>
                <a:gd name="T15" fmla="*/ 93 h 106"/>
                <a:gd name="T16" fmla="*/ 90 w 90"/>
                <a:gd name="T17" fmla="*/ 91 h 106"/>
                <a:gd name="T18" fmla="*/ 90 w 90"/>
                <a:gd name="T19" fmla="*/ 15 h 106"/>
                <a:gd name="T20" fmla="*/ 90 w 90"/>
                <a:gd name="T21" fmla="*/ 13 h 106"/>
                <a:gd name="T22" fmla="*/ 89 w 90"/>
                <a:gd name="T23" fmla="*/ 10 h 106"/>
                <a:gd name="T24" fmla="*/ 88 w 90"/>
                <a:gd name="T25" fmla="*/ 7 h 106"/>
                <a:gd name="T26" fmla="*/ 86 w 90"/>
                <a:gd name="T27" fmla="*/ 4 h 106"/>
                <a:gd name="T28" fmla="*/ 84 w 90"/>
                <a:gd name="T29" fmla="*/ 3 h 106"/>
                <a:gd name="T30" fmla="*/ 80 w 90"/>
                <a:gd name="T31" fmla="*/ 1 h 106"/>
                <a:gd name="T32" fmla="*/ 78 w 90"/>
                <a:gd name="T33" fmla="*/ 1 h 106"/>
                <a:gd name="T34" fmla="*/ 75 w 90"/>
                <a:gd name="T35" fmla="*/ 0 h 106"/>
                <a:gd name="T36" fmla="*/ 45 w 90"/>
                <a:gd name="T37" fmla="*/ 0 h 106"/>
                <a:gd name="T38" fmla="*/ 0 w 90"/>
                <a:gd name="T39" fmla="*/ 0 h 106"/>
                <a:gd name="T40" fmla="*/ 0 w 90"/>
                <a:gd name="T41" fmla="*/ 106 h 106"/>
                <a:gd name="T42" fmla="*/ 15 w 90"/>
                <a:gd name="T43" fmla="*/ 106 h 106"/>
                <a:gd name="T44" fmla="*/ 75 w 90"/>
                <a:gd name="T4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6">
                  <a:moveTo>
                    <a:pt x="75" y="106"/>
                  </a:move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7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84">
              <a:extLst>
                <a:ext uri="{FF2B5EF4-FFF2-40B4-BE49-F238E27FC236}">
                  <a16:creationId xmlns:a16="http://schemas.microsoft.com/office/drawing/2014/main" id="{FA9F2D8F-9840-4724-B7E0-A6DB574A9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484313"/>
              <a:ext cx="28575" cy="33338"/>
            </a:xfrm>
            <a:custGeom>
              <a:avLst/>
              <a:gdLst>
                <a:gd name="T0" fmla="*/ 15 w 90"/>
                <a:gd name="T1" fmla="*/ 106 h 106"/>
                <a:gd name="T2" fmla="*/ 90 w 90"/>
                <a:gd name="T3" fmla="*/ 106 h 106"/>
                <a:gd name="T4" fmla="*/ 90 w 90"/>
                <a:gd name="T5" fmla="*/ 0 h 106"/>
                <a:gd name="T6" fmla="*/ 15 w 90"/>
                <a:gd name="T7" fmla="*/ 0 h 106"/>
                <a:gd name="T8" fmla="*/ 11 w 90"/>
                <a:gd name="T9" fmla="*/ 1 h 106"/>
                <a:gd name="T10" fmla="*/ 9 w 90"/>
                <a:gd name="T11" fmla="*/ 1 h 106"/>
                <a:gd name="T12" fmla="*/ 6 w 90"/>
                <a:gd name="T13" fmla="*/ 3 h 106"/>
                <a:gd name="T14" fmla="*/ 4 w 90"/>
                <a:gd name="T15" fmla="*/ 4 h 106"/>
                <a:gd name="T16" fmla="*/ 2 w 90"/>
                <a:gd name="T17" fmla="*/ 7 h 106"/>
                <a:gd name="T18" fmla="*/ 1 w 90"/>
                <a:gd name="T19" fmla="*/ 10 h 106"/>
                <a:gd name="T20" fmla="*/ 0 w 90"/>
                <a:gd name="T21" fmla="*/ 13 h 106"/>
                <a:gd name="T22" fmla="*/ 0 w 90"/>
                <a:gd name="T23" fmla="*/ 15 h 106"/>
                <a:gd name="T24" fmla="*/ 0 w 90"/>
                <a:gd name="T25" fmla="*/ 90 h 106"/>
                <a:gd name="T26" fmla="*/ 0 w 90"/>
                <a:gd name="T27" fmla="*/ 93 h 106"/>
                <a:gd name="T28" fmla="*/ 1 w 90"/>
                <a:gd name="T29" fmla="*/ 96 h 106"/>
                <a:gd name="T30" fmla="*/ 2 w 90"/>
                <a:gd name="T31" fmla="*/ 99 h 106"/>
                <a:gd name="T32" fmla="*/ 4 w 90"/>
                <a:gd name="T33" fmla="*/ 101 h 106"/>
                <a:gd name="T34" fmla="*/ 6 w 90"/>
                <a:gd name="T35" fmla="*/ 103 h 106"/>
                <a:gd name="T36" fmla="*/ 9 w 90"/>
                <a:gd name="T37" fmla="*/ 104 h 106"/>
                <a:gd name="T38" fmla="*/ 11 w 90"/>
                <a:gd name="T39" fmla="*/ 105 h 106"/>
                <a:gd name="T40" fmla="*/ 15 w 90"/>
                <a:gd name="T4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15" y="106"/>
                  </a:move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85">
              <a:extLst>
                <a:ext uri="{FF2B5EF4-FFF2-40B4-BE49-F238E27FC236}">
                  <a16:creationId xmlns:a16="http://schemas.microsoft.com/office/drawing/2014/main" id="{7627DDD7-0E2C-41B1-8F74-380D01859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68425"/>
              <a:ext cx="28575" cy="34925"/>
            </a:xfrm>
            <a:custGeom>
              <a:avLst/>
              <a:gdLst>
                <a:gd name="T0" fmla="*/ 90 w 90"/>
                <a:gd name="T1" fmla="*/ 92 h 107"/>
                <a:gd name="T2" fmla="*/ 90 w 90"/>
                <a:gd name="T3" fmla="*/ 15 h 107"/>
                <a:gd name="T4" fmla="*/ 90 w 90"/>
                <a:gd name="T5" fmla="*/ 13 h 107"/>
                <a:gd name="T6" fmla="*/ 89 w 90"/>
                <a:gd name="T7" fmla="*/ 10 h 107"/>
                <a:gd name="T8" fmla="*/ 88 w 90"/>
                <a:gd name="T9" fmla="*/ 8 h 107"/>
                <a:gd name="T10" fmla="*/ 86 w 90"/>
                <a:gd name="T11" fmla="*/ 6 h 107"/>
                <a:gd name="T12" fmla="*/ 84 w 90"/>
                <a:gd name="T13" fmla="*/ 4 h 107"/>
                <a:gd name="T14" fmla="*/ 80 w 90"/>
                <a:gd name="T15" fmla="*/ 3 h 107"/>
                <a:gd name="T16" fmla="*/ 78 w 90"/>
                <a:gd name="T17" fmla="*/ 2 h 107"/>
                <a:gd name="T18" fmla="*/ 75 w 90"/>
                <a:gd name="T19" fmla="*/ 2 h 107"/>
                <a:gd name="T20" fmla="*/ 0 w 90"/>
                <a:gd name="T21" fmla="*/ 0 h 107"/>
                <a:gd name="T22" fmla="*/ 0 w 90"/>
                <a:gd name="T23" fmla="*/ 107 h 107"/>
                <a:gd name="T24" fmla="*/ 75 w 90"/>
                <a:gd name="T25" fmla="*/ 107 h 107"/>
                <a:gd name="T26" fmla="*/ 78 w 90"/>
                <a:gd name="T27" fmla="*/ 106 h 107"/>
                <a:gd name="T28" fmla="*/ 80 w 90"/>
                <a:gd name="T29" fmla="*/ 106 h 107"/>
                <a:gd name="T30" fmla="*/ 84 w 90"/>
                <a:gd name="T31" fmla="*/ 103 h 107"/>
                <a:gd name="T32" fmla="*/ 86 w 90"/>
                <a:gd name="T33" fmla="*/ 102 h 107"/>
                <a:gd name="T34" fmla="*/ 88 w 90"/>
                <a:gd name="T35" fmla="*/ 100 h 107"/>
                <a:gd name="T36" fmla="*/ 89 w 90"/>
                <a:gd name="T37" fmla="*/ 97 h 107"/>
                <a:gd name="T38" fmla="*/ 90 w 90"/>
                <a:gd name="T39" fmla="*/ 95 h 107"/>
                <a:gd name="T40" fmla="*/ 90 w 90"/>
                <a:gd name="T41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90" y="92"/>
                  </a:move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4" y="4"/>
                  </a:lnTo>
                  <a:lnTo>
                    <a:pt x="80" y="3"/>
                  </a:lnTo>
                  <a:lnTo>
                    <a:pt x="78" y="2"/>
                  </a:lnTo>
                  <a:lnTo>
                    <a:pt x="75" y="2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5" y="107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86">
              <a:extLst>
                <a:ext uri="{FF2B5EF4-FFF2-40B4-BE49-F238E27FC236}">
                  <a16:creationId xmlns:a16="http://schemas.microsoft.com/office/drawing/2014/main" id="{D04B4CC2-DE97-4B49-A5D1-9927B52B8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368425"/>
              <a:ext cx="28575" cy="34925"/>
            </a:xfrm>
            <a:custGeom>
              <a:avLst/>
              <a:gdLst>
                <a:gd name="T0" fmla="*/ 15 w 90"/>
                <a:gd name="T1" fmla="*/ 107 h 107"/>
                <a:gd name="T2" fmla="*/ 90 w 90"/>
                <a:gd name="T3" fmla="*/ 107 h 107"/>
                <a:gd name="T4" fmla="*/ 90 w 90"/>
                <a:gd name="T5" fmla="*/ 0 h 107"/>
                <a:gd name="T6" fmla="*/ 15 w 90"/>
                <a:gd name="T7" fmla="*/ 0 h 107"/>
                <a:gd name="T8" fmla="*/ 11 w 90"/>
                <a:gd name="T9" fmla="*/ 2 h 107"/>
                <a:gd name="T10" fmla="*/ 9 w 90"/>
                <a:gd name="T11" fmla="*/ 3 h 107"/>
                <a:gd name="T12" fmla="*/ 6 w 90"/>
                <a:gd name="T13" fmla="*/ 4 h 107"/>
                <a:gd name="T14" fmla="*/ 4 w 90"/>
                <a:gd name="T15" fmla="*/ 6 h 107"/>
                <a:gd name="T16" fmla="*/ 3 w 90"/>
                <a:gd name="T17" fmla="*/ 8 h 107"/>
                <a:gd name="T18" fmla="*/ 1 w 90"/>
                <a:gd name="T19" fmla="*/ 10 h 107"/>
                <a:gd name="T20" fmla="*/ 0 w 90"/>
                <a:gd name="T21" fmla="*/ 13 h 107"/>
                <a:gd name="T22" fmla="*/ 0 w 90"/>
                <a:gd name="T23" fmla="*/ 17 h 107"/>
                <a:gd name="T24" fmla="*/ 0 w 90"/>
                <a:gd name="T25" fmla="*/ 92 h 107"/>
                <a:gd name="T26" fmla="*/ 0 w 90"/>
                <a:gd name="T27" fmla="*/ 95 h 107"/>
                <a:gd name="T28" fmla="*/ 1 w 90"/>
                <a:gd name="T29" fmla="*/ 97 h 107"/>
                <a:gd name="T30" fmla="*/ 3 w 90"/>
                <a:gd name="T31" fmla="*/ 100 h 107"/>
                <a:gd name="T32" fmla="*/ 4 w 90"/>
                <a:gd name="T33" fmla="*/ 102 h 107"/>
                <a:gd name="T34" fmla="*/ 6 w 90"/>
                <a:gd name="T35" fmla="*/ 103 h 107"/>
                <a:gd name="T36" fmla="*/ 9 w 90"/>
                <a:gd name="T37" fmla="*/ 106 h 107"/>
                <a:gd name="T38" fmla="*/ 11 w 90"/>
                <a:gd name="T39" fmla="*/ 106 h 107"/>
                <a:gd name="T40" fmla="*/ 15 w 90"/>
                <a:gd name="T4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15" y="107"/>
                  </a:moveTo>
                  <a:lnTo>
                    <a:pt x="90" y="107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9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1" y="97"/>
                  </a:lnTo>
                  <a:lnTo>
                    <a:pt x="3" y="100"/>
                  </a:lnTo>
                  <a:lnTo>
                    <a:pt x="4" y="102"/>
                  </a:lnTo>
                  <a:lnTo>
                    <a:pt x="6" y="103"/>
                  </a:lnTo>
                  <a:lnTo>
                    <a:pt x="9" y="106"/>
                  </a:lnTo>
                  <a:lnTo>
                    <a:pt x="11" y="106"/>
                  </a:lnTo>
                  <a:lnTo>
                    <a:pt x="1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87">
              <a:extLst>
                <a:ext uri="{FF2B5EF4-FFF2-40B4-BE49-F238E27FC236}">
                  <a16:creationId xmlns:a16="http://schemas.microsoft.com/office/drawing/2014/main" id="{87E34D25-1045-49C9-BDCC-82C19A0B3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368425"/>
              <a:ext cx="49213" cy="34925"/>
            </a:xfrm>
            <a:custGeom>
              <a:avLst/>
              <a:gdLst>
                <a:gd name="T0" fmla="*/ 151 w 151"/>
                <a:gd name="T1" fmla="*/ 107 h 107"/>
                <a:gd name="T2" fmla="*/ 151 w 151"/>
                <a:gd name="T3" fmla="*/ 0 h 107"/>
                <a:gd name="T4" fmla="*/ 0 w 151"/>
                <a:gd name="T5" fmla="*/ 0 h 107"/>
                <a:gd name="T6" fmla="*/ 0 w 151"/>
                <a:gd name="T7" fmla="*/ 107 h 107"/>
                <a:gd name="T8" fmla="*/ 76 w 151"/>
                <a:gd name="T9" fmla="*/ 107 h 107"/>
                <a:gd name="T10" fmla="*/ 151 w 151"/>
                <a:gd name="T1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7">
                  <a:moveTo>
                    <a:pt x="151" y="107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6" y="107"/>
                  </a:lnTo>
                  <a:lnTo>
                    <a:pt x="15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8">
              <a:extLst>
                <a:ext uri="{FF2B5EF4-FFF2-40B4-BE49-F238E27FC236}">
                  <a16:creationId xmlns:a16="http://schemas.microsoft.com/office/drawing/2014/main" id="{B2EBCDA1-833D-4985-B0E7-44E07C843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98613"/>
              <a:ext cx="28575" cy="33338"/>
            </a:xfrm>
            <a:custGeom>
              <a:avLst/>
              <a:gdLst>
                <a:gd name="T0" fmla="*/ 75 w 91"/>
                <a:gd name="T1" fmla="*/ 0 h 106"/>
                <a:gd name="T2" fmla="*/ 45 w 91"/>
                <a:gd name="T3" fmla="*/ 0 h 106"/>
                <a:gd name="T4" fmla="*/ 0 w 91"/>
                <a:gd name="T5" fmla="*/ 0 h 106"/>
                <a:gd name="T6" fmla="*/ 0 w 91"/>
                <a:gd name="T7" fmla="*/ 106 h 106"/>
                <a:gd name="T8" fmla="*/ 75 w 91"/>
                <a:gd name="T9" fmla="*/ 106 h 106"/>
                <a:gd name="T10" fmla="*/ 79 w 91"/>
                <a:gd name="T11" fmla="*/ 106 h 106"/>
                <a:gd name="T12" fmla="*/ 81 w 91"/>
                <a:gd name="T13" fmla="*/ 104 h 106"/>
                <a:gd name="T14" fmla="*/ 84 w 91"/>
                <a:gd name="T15" fmla="*/ 103 h 106"/>
                <a:gd name="T16" fmla="*/ 86 w 91"/>
                <a:gd name="T17" fmla="*/ 101 h 106"/>
                <a:gd name="T18" fmla="*/ 88 w 91"/>
                <a:gd name="T19" fmla="*/ 99 h 106"/>
                <a:gd name="T20" fmla="*/ 89 w 91"/>
                <a:gd name="T21" fmla="*/ 97 h 106"/>
                <a:gd name="T22" fmla="*/ 91 w 91"/>
                <a:gd name="T23" fmla="*/ 94 h 106"/>
                <a:gd name="T24" fmla="*/ 91 w 91"/>
                <a:gd name="T25" fmla="*/ 91 h 106"/>
                <a:gd name="T26" fmla="*/ 91 w 91"/>
                <a:gd name="T27" fmla="*/ 15 h 106"/>
                <a:gd name="T28" fmla="*/ 91 w 91"/>
                <a:gd name="T29" fmla="*/ 12 h 106"/>
                <a:gd name="T30" fmla="*/ 89 w 91"/>
                <a:gd name="T31" fmla="*/ 10 h 106"/>
                <a:gd name="T32" fmla="*/ 88 w 91"/>
                <a:gd name="T33" fmla="*/ 7 h 106"/>
                <a:gd name="T34" fmla="*/ 86 w 91"/>
                <a:gd name="T35" fmla="*/ 5 h 106"/>
                <a:gd name="T36" fmla="*/ 84 w 91"/>
                <a:gd name="T37" fmla="*/ 4 h 106"/>
                <a:gd name="T38" fmla="*/ 81 w 91"/>
                <a:gd name="T39" fmla="*/ 2 h 106"/>
                <a:gd name="T40" fmla="*/ 79 w 91"/>
                <a:gd name="T41" fmla="*/ 2 h 106"/>
                <a:gd name="T42" fmla="*/ 75 w 91"/>
                <a:gd name="T43" fmla="*/ 0 h 106"/>
                <a:gd name="T44" fmla="*/ 75 w 91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1" h="106">
                  <a:moveTo>
                    <a:pt x="75" y="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9" y="106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1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89">
              <a:extLst>
                <a:ext uri="{FF2B5EF4-FFF2-40B4-BE49-F238E27FC236}">
                  <a16:creationId xmlns:a16="http://schemas.microsoft.com/office/drawing/2014/main" id="{8426C169-B4AA-4B2A-BE2B-22109A98C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98613"/>
              <a:ext cx="28575" cy="33338"/>
            </a:xfrm>
            <a:custGeom>
              <a:avLst/>
              <a:gdLst>
                <a:gd name="T0" fmla="*/ 0 w 90"/>
                <a:gd name="T1" fmla="*/ 15 h 106"/>
                <a:gd name="T2" fmla="*/ 0 w 90"/>
                <a:gd name="T3" fmla="*/ 91 h 106"/>
                <a:gd name="T4" fmla="*/ 0 w 90"/>
                <a:gd name="T5" fmla="*/ 94 h 106"/>
                <a:gd name="T6" fmla="*/ 1 w 90"/>
                <a:gd name="T7" fmla="*/ 97 h 106"/>
                <a:gd name="T8" fmla="*/ 3 w 90"/>
                <a:gd name="T9" fmla="*/ 99 h 106"/>
                <a:gd name="T10" fmla="*/ 4 w 90"/>
                <a:gd name="T11" fmla="*/ 101 h 106"/>
                <a:gd name="T12" fmla="*/ 6 w 90"/>
                <a:gd name="T13" fmla="*/ 103 h 106"/>
                <a:gd name="T14" fmla="*/ 10 w 90"/>
                <a:gd name="T15" fmla="*/ 104 h 106"/>
                <a:gd name="T16" fmla="*/ 12 w 90"/>
                <a:gd name="T17" fmla="*/ 106 h 106"/>
                <a:gd name="T18" fmla="*/ 15 w 90"/>
                <a:gd name="T19" fmla="*/ 106 h 106"/>
                <a:gd name="T20" fmla="*/ 90 w 90"/>
                <a:gd name="T21" fmla="*/ 106 h 106"/>
                <a:gd name="T22" fmla="*/ 90 w 90"/>
                <a:gd name="T23" fmla="*/ 0 h 106"/>
                <a:gd name="T24" fmla="*/ 15 w 90"/>
                <a:gd name="T25" fmla="*/ 0 h 106"/>
                <a:gd name="T26" fmla="*/ 12 w 90"/>
                <a:gd name="T27" fmla="*/ 0 h 106"/>
                <a:gd name="T28" fmla="*/ 10 w 90"/>
                <a:gd name="T29" fmla="*/ 2 h 106"/>
                <a:gd name="T30" fmla="*/ 6 w 90"/>
                <a:gd name="T31" fmla="*/ 4 h 106"/>
                <a:gd name="T32" fmla="*/ 4 w 90"/>
                <a:gd name="T33" fmla="*/ 5 h 106"/>
                <a:gd name="T34" fmla="*/ 3 w 90"/>
                <a:gd name="T35" fmla="*/ 7 h 106"/>
                <a:gd name="T36" fmla="*/ 1 w 90"/>
                <a:gd name="T37" fmla="*/ 10 h 106"/>
                <a:gd name="T38" fmla="*/ 0 w 90"/>
                <a:gd name="T39" fmla="*/ 12 h 106"/>
                <a:gd name="T40" fmla="*/ 0 w 90"/>
                <a:gd name="T41" fmla="*/ 1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0" y="15"/>
                  </a:move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10" y="104"/>
                  </a:lnTo>
                  <a:lnTo>
                    <a:pt x="12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90">
              <a:extLst>
                <a:ext uri="{FF2B5EF4-FFF2-40B4-BE49-F238E27FC236}">
                  <a16:creationId xmlns:a16="http://schemas.microsoft.com/office/drawing/2014/main" id="{E8EE8C2C-A74D-477B-AF60-FF43126D8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98613"/>
              <a:ext cx="47625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45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91">
              <a:extLst>
                <a:ext uri="{FF2B5EF4-FFF2-40B4-BE49-F238E27FC236}">
                  <a16:creationId xmlns:a16="http://schemas.microsoft.com/office/drawing/2014/main" id="{43EFACD0-0603-4A54-9CC0-DD36B6664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1560513"/>
              <a:ext cx="47625" cy="33338"/>
            </a:xfrm>
            <a:custGeom>
              <a:avLst/>
              <a:gdLst>
                <a:gd name="T0" fmla="*/ 150 w 150"/>
                <a:gd name="T1" fmla="*/ 0 h 105"/>
                <a:gd name="T2" fmla="*/ 105 w 150"/>
                <a:gd name="T3" fmla="*/ 0 h 105"/>
                <a:gd name="T4" fmla="*/ 0 w 150"/>
                <a:gd name="T5" fmla="*/ 0 h 105"/>
                <a:gd name="T6" fmla="*/ 0 w 150"/>
                <a:gd name="T7" fmla="*/ 105 h 105"/>
                <a:gd name="T8" fmla="*/ 105 w 150"/>
                <a:gd name="T9" fmla="*/ 105 h 105"/>
                <a:gd name="T10" fmla="*/ 150 w 150"/>
                <a:gd name="T11" fmla="*/ 105 h 105"/>
                <a:gd name="T12" fmla="*/ 150 w 150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150" y="0"/>
                  </a:moveTo>
                  <a:lnTo>
                    <a:pt x="10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2">
              <a:extLst>
                <a:ext uri="{FF2B5EF4-FFF2-40B4-BE49-F238E27FC236}">
                  <a16:creationId xmlns:a16="http://schemas.microsoft.com/office/drawing/2014/main" id="{07617C57-7762-4C4B-9CEC-FA4F2DD7D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45 w 90"/>
                <a:gd name="T3" fmla="*/ 0 h 105"/>
                <a:gd name="T4" fmla="*/ 15 w 90"/>
                <a:gd name="T5" fmla="*/ 0 h 105"/>
                <a:gd name="T6" fmla="*/ 12 w 90"/>
                <a:gd name="T7" fmla="*/ 0 h 105"/>
                <a:gd name="T8" fmla="*/ 10 w 90"/>
                <a:gd name="T9" fmla="*/ 1 h 105"/>
                <a:gd name="T10" fmla="*/ 7 w 90"/>
                <a:gd name="T11" fmla="*/ 2 h 105"/>
                <a:gd name="T12" fmla="*/ 4 w 90"/>
                <a:gd name="T13" fmla="*/ 5 h 105"/>
                <a:gd name="T14" fmla="*/ 3 w 90"/>
                <a:gd name="T15" fmla="*/ 7 h 105"/>
                <a:gd name="T16" fmla="*/ 1 w 90"/>
                <a:gd name="T17" fmla="*/ 10 h 105"/>
                <a:gd name="T18" fmla="*/ 1 w 90"/>
                <a:gd name="T19" fmla="*/ 12 h 105"/>
                <a:gd name="T20" fmla="*/ 0 w 90"/>
                <a:gd name="T21" fmla="*/ 15 h 105"/>
                <a:gd name="T22" fmla="*/ 0 w 90"/>
                <a:gd name="T23" fmla="*/ 90 h 105"/>
                <a:gd name="T24" fmla="*/ 1 w 90"/>
                <a:gd name="T25" fmla="*/ 94 h 105"/>
                <a:gd name="T26" fmla="*/ 1 w 90"/>
                <a:gd name="T27" fmla="*/ 97 h 105"/>
                <a:gd name="T28" fmla="*/ 3 w 90"/>
                <a:gd name="T29" fmla="*/ 99 h 105"/>
                <a:gd name="T30" fmla="*/ 4 w 90"/>
                <a:gd name="T31" fmla="*/ 101 h 105"/>
                <a:gd name="T32" fmla="*/ 7 w 90"/>
                <a:gd name="T33" fmla="*/ 103 h 105"/>
                <a:gd name="T34" fmla="*/ 10 w 90"/>
                <a:gd name="T35" fmla="*/ 104 h 105"/>
                <a:gd name="T36" fmla="*/ 12 w 90"/>
                <a:gd name="T37" fmla="*/ 105 h 105"/>
                <a:gd name="T38" fmla="*/ 15 w 90"/>
                <a:gd name="T39" fmla="*/ 105 h 105"/>
                <a:gd name="T40" fmla="*/ 45 w 90"/>
                <a:gd name="T41" fmla="*/ 105 h 105"/>
                <a:gd name="T42" fmla="*/ 90 w 90"/>
                <a:gd name="T43" fmla="*/ 105 h 105"/>
                <a:gd name="T44" fmla="*/ 90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1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93">
              <a:extLst>
                <a:ext uri="{FF2B5EF4-FFF2-40B4-BE49-F238E27FC236}">
                  <a16:creationId xmlns:a16="http://schemas.microsoft.com/office/drawing/2014/main" id="{19FD748F-FF52-46E8-8E8A-3AB180AAF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560513"/>
              <a:ext cx="28575" cy="33338"/>
            </a:xfrm>
            <a:custGeom>
              <a:avLst/>
              <a:gdLst>
                <a:gd name="T0" fmla="*/ 76 w 91"/>
                <a:gd name="T1" fmla="*/ 0 h 105"/>
                <a:gd name="T2" fmla="*/ 0 w 91"/>
                <a:gd name="T3" fmla="*/ 0 h 105"/>
                <a:gd name="T4" fmla="*/ 0 w 91"/>
                <a:gd name="T5" fmla="*/ 105 h 105"/>
                <a:gd name="T6" fmla="*/ 76 w 91"/>
                <a:gd name="T7" fmla="*/ 105 h 105"/>
                <a:gd name="T8" fmla="*/ 79 w 91"/>
                <a:gd name="T9" fmla="*/ 105 h 105"/>
                <a:gd name="T10" fmla="*/ 82 w 91"/>
                <a:gd name="T11" fmla="*/ 104 h 105"/>
                <a:gd name="T12" fmla="*/ 84 w 91"/>
                <a:gd name="T13" fmla="*/ 103 h 105"/>
                <a:gd name="T14" fmla="*/ 86 w 91"/>
                <a:gd name="T15" fmla="*/ 101 h 105"/>
                <a:gd name="T16" fmla="*/ 88 w 91"/>
                <a:gd name="T17" fmla="*/ 99 h 105"/>
                <a:gd name="T18" fmla="*/ 89 w 91"/>
                <a:gd name="T19" fmla="*/ 97 h 105"/>
                <a:gd name="T20" fmla="*/ 91 w 91"/>
                <a:gd name="T21" fmla="*/ 94 h 105"/>
                <a:gd name="T22" fmla="*/ 91 w 91"/>
                <a:gd name="T23" fmla="*/ 90 h 105"/>
                <a:gd name="T24" fmla="*/ 91 w 91"/>
                <a:gd name="T25" fmla="*/ 15 h 105"/>
                <a:gd name="T26" fmla="*/ 91 w 91"/>
                <a:gd name="T27" fmla="*/ 12 h 105"/>
                <a:gd name="T28" fmla="*/ 89 w 91"/>
                <a:gd name="T29" fmla="*/ 9 h 105"/>
                <a:gd name="T30" fmla="*/ 88 w 91"/>
                <a:gd name="T31" fmla="*/ 7 h 105"/>
                <a:gd name="T32" fmla="*/ 86 w 91"/>
                <a:gd name="T33" fmla="*/ 5 h 105"/>
                <a:gd name="T34" fmla="*/ 84 w 91"/>
                <a:gd name="T35" fmla="*/ 2 h 105"/>
                <a:gd name="T36" fmla="*/ 82 w 91"/>
                <a:gd name="T37" fmla="*/ 1 h 105"/>
                <a:gd name="T38" fmla="*/ 79 w 91"/>
                <a:gd name="T39" fmla="*/ 0 h 105"/>
                <a:gd name="T40" fmla="*/ 76 w 91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105">
                  <a:moveTo>
                    <a:pt x="76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6" y="105"/>
                  </a:lnTo>
                  <a:lnTo>
                    <a:pt x="79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9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94">
              <a:extLst>
                <a:ext uri="{FF2B5EF4-FFF2-40B4-BE49-F238E27FC236}">
                  <a16:creationId xmlns:a16="http://schemas.microsoft.com/office/drawing/2014/main" id="{314F4A2D-4B4C-477A-AF6F-051806CB3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22413"/>
              <a:ext cx="28575" cy="33338"/>
            </a:xfrm>
            <a:custGeom>
              <a:avLst/>
              <a:gdLst>
                <a:gd name="T0" fmla="*/ 75 w 91"/>
                <a:gd name="T1" fmla="*/ 105 h 105"/>
                <a:gd name="T2" fmla="*/ 79 w 91"/>
                <a:gd name="T3" fmla="*/ 105 h 105"/>
                <a:gd name="T4" fmla="*/ 81 w 91"/>
                <a:gd name="T5" fmla="*/ 104 h 105"/>
                <a:gd name="T6" fmla="*/ 84 w 91"/>
                <a:gd name="T7" fmla="*/ 102 h 105"/>
                <a:gd name="T8" fmla="*/ 86 w 91"/>
                <a:gd name="T9" fmla="*/ 101 h 105"/>
                <a:gd name="T10" fmla="*/ 88 w 91"/>
                <a:gd name="T11" fmla="*/ 99 h 105"/>
                <a:gd name="T12" fmla="*/ 89 w 91"/>
                <a:gd name="T13" fmla="*/ 96 h 105"/>
                <a:gd name="T14" fmla="*/ 91 w 91"/>
                <a:gd name="T15" fmla="*/ 93 h 105"/>
                <a:gd name="T16" fmla="*/ 91 w 91"/>
                <a:gd name="T17" fmla="*/ 90 h 105"/>
                <a:gd name="T18" fmla="*/ 91 w 91"/>
                <a:gd name="T19" fmla="*/ 15 h 105"/>
                <a:gd name="T20" fmla="*/ 91 w 91"/>
                <a:gd name="T21" fmla="*/ 12 h 105"/>
                <a:gd name="T22" fmla="*/ 89 w 91"/>
                <a:gd name="T23" fmla="*/ 9 h 105"/>
                <a:gd name="T24" fmla="*/ 88 w 91"/>
                <a:gd name="T25" fmla="*/ 7 h 105"/>
                <a:gd name="T26" fmla="*/ 86 w 91"/>
                <a:gd name="T27" fmla="*/ 4 h 105"/>
                <a:gd name="T28" fmla="*/ 84 w 91"/>
                <a:gd name="T29" fmla="*/ 2 h 105"/>
                <a:gd name="T30" fmla="*/ 81 w 91"/>
                <a:gd name="T31" fmla="*/ 1 h 105"/>
                <a:gd name="T32" fmla="*/ 79 w 91"/>
                <a:gd name="T33" fmla="*/ 0 h 105"/>
                <a:gd name="T34" fmla="*/ 75 w 91"/>
                <a:gd name="T35" fmla="*/ 0 h 105"/>
                <a:gd name="T36" fmla="*/ 0 w 91"/>
                <a:gd name="T37" fmla="*/ 0 h 105"/>
                <a:gd name="T38" fmla="*/ 0 w 91"/>
                <a:gd name="T39" fmla="*/ 105 h 105"/>
                <a:gd name="T40" fmla="*/ 45 w 91"/>
                <a:gd name="T41" fmla="*/ 105 h 105"/>
                <a:gd name="T42" fmla="*/ 75 w 91"/>
                <a:gd name="T4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75" y="105"/>
                  </a:moveTo>
                  <a:lnTo>
                    <a:pt x="79" y="105"/>
                  </a:lnTo>
                  <a:lnTo>
                    <a:pt x="81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1" y="93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75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5">
              <a:extLst>
                <a:ext uri="{FF2B5EF4-FFF2-40B4-BE49-F238E27FC236}">
                  <a16:creationId xmlns:a16="http://schemas.microsoft.com/office/drawing/2014/main" id="{9CCB86E5-7EDF-481C-BC9A-773636ABF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22413"/>
              <a:ext cx="47625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45 w 151"/>
                <a:gd name="T9" fmla="*/ 105 h 105"/>
                <a:gd name="T10" fmla="*/ 151 w 151"/>
                <a:gd name="T1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6">
              <a:extLst>
                <a:ext uri="{FF2B5EF4-FFF2-40B4-BE49-F238E27FC236}">
                  <a16:creationId xmlns:a16="http://schemas.microsoft.com/office/drawing/2014/main" id="{9B1FA9DD-29CB-4D08-A2BB-8DD7BDAF2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22413"/>
              <a:ext cx="28575" cy="33338"/>
            </a:xfrm>
            <a:custGeom>
              <a:avLst/>
              <a:gdLst>
                <a:gd name="T0" fmla="*/ 0 w 90"/>
                <a:gd name="T1" fmla="*/ 15 h 105"/>
                <a:gd name="T2" fmla="*/ 0 w 90"/>
                <a:gd name="T3" fmla="*/ 90 h 105"/>
                <a:gd name="T4" fmla="*/ 0 w 90"/>
                <a:gd name="T5" fmla="*/ 93 h 105"/>
                <a:gd name="T6" fmla="*/ 1 w 90"/>
                <a:gd name="T7" fmla="*/ 96 h 105"/>
                <a:gd name="T8" fmla="*/ 3 w 90"/>
                <a:gd name="T9" fmla="*/ 99 h 105"/>
                <a:gd name="T10" fmla="*/ 4 w 90"/>
                <a:gd name="T11" fmla="*/ 101 h 105"/>
                <a:gd name="T12" fmla="*/ 6 w 90"/>
                <a:gd name="T13" fmla="*/ 102 h 105"/>
                <a:gd name="T14" fmla="*/ 10 w 90"/>
                <a:gd name="T15" fmla="*/ 104 h 105"/>
                <a:gd name="T16" fmla="*/ 12 w 90"/>
                <a:gd name="T17" fmla="*/ 105 h 105"/>
                <a:gd name="T18" fmla="*/ 15 w 90"/>
                <a:gd name="T19" fmla="*/ 105 h 105"/>
                <a:gd name="T20" fmla="*/ 90 w 90"/>
                <a:gd name="T21" fmla="*/ 105 h 105"/>
                <a:gd name="T22" fmla="*/ 90 w 90"/>
                <a:gd name="T23" fmla="*/ 0 h 105"/>
                <a:gd name="T24" fmla="*/ 15 w 90"/>
                <a:gd name="T25" fmla="*/ 0 h 105"/>
                <a:gd name="T26" fmla="*/ 12 w 90"/>
                <a:gd name="T27" fmla="*/ 0 h 105"/>
                <a:gd name="T28" fmla="*/ 10 w 90"/>
                <a:gd name="T29" fmla="*/ 1 h 105"/>
                <a:gd name="T30" fmla="*/ 6 w 90"/>
                <a:gd name="T31" fmla="*/ 2 h 105"/>
                <a:gd name="T32" fmla="*/ 4 w 90"/>
                <a:gd name="T33" fmla="*/ 4 h 105"/>
                <a:gd name="T34" fmla="*/ 3 w 90"/>
                <a:gd name="T35" fmla="*/ 7 h 105"/>
                <a:gd name="T36" fmla="*/ 1 w 90"/>
                <a:gd name="T37" fmla="*/ 9 h 105"/>
                <a:gd name="T38" fmla="*/ 0 w 90"/>
                <a:gd name="T39" fmla="*/ 12 h 105"/>
                <a:gd name="T40" fmla="*/ 0 w 90"/>
                <a:gd name="T4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5"/>
                  </a:move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03658782-57B9-4C48-9C71-07695163187A}"/>
              </a:ext>
            </a:extLst>
          </p:cNvPr>
          <p:cNvGrpSpPr/>
          <p:nvPr/>
        </p:nvGrpSpPr>
        <p:grpSpPr>
          <a:xfrm>
            <a:off x="7284682" y="2326641"/>
            <a:ext cx="528358" cy="497490"/>
            <a:chOff x="9312275" y="5386388"/>
            <a:chExt cx="285750" cy="249238"/>
          </a:xfrm>
          <a:solidFill>
            <a:schemeClr val="bg1"/>
          </a:solidFill>
        </p:grpSpPr>
        <p:sp>
          <p:nvSpPr>
            <p:cNvPr id="76" name="Freeform 3445">
              <a:extLst>
                <a:ext uri="{FF2B5EF4-FFF2-40B4-BE49-F238E27FC236}">
                  <a16:creationId xmlns:a16="http://schemas.microsoft.com/office/drawing/2014/main" id="{7542754E-CB96-41C7-B68A-87941CFD3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2275" y="5386388"/>
              <a:ext cx="225425" cy="249238"/>
            </a:xfrm>
            <a:custGeom>
              <a:avLst/>
              <a:gdLst>
                <a:gd name="T0" fmla="*/ 384 w 569"/>
                <a:gd name="T1" fmla="*/ 376 h 628"/>
                <a:gd name="T2" fmla="*/ 359 w 569"/>
                <a:gd name="T3" fmla="*/ 309 h 628"/>
                <a:gd name="T4" fmla="*/ 379 w 569"/>
                <a:gd name="T5" fmla="*/ 290 h 628"/>
                <a:gd name="T6" fmla="*/ 397 w 569"/>
                <a:gd name="T7" fmla="*/ 253 h 628"/>
                <a:gd name="T8" fmla="*/ 406 w 569"/>
                <a:gd name="T9" fmla="*/ 213 h 628"/>
                <a:gd name="T10" fmla="*/ 415 w 569"/>
                <a:gd name="T11" fmla="*/ 203 h 628"/>
                <a:gd name="T12" fmla="*/ 420 w 569"/>
                <a:gd name="T13" fmla="*/ 184 h 628"/>
                <a:gd name="T14" fmla="*/ 416 w 569"/>
                <a:gd name="T15" fmla="*/ 154 h 628"/>
                <a:gd name="T16" fmla="*/ 411 w 569"/>
                <a:gd name="T17" fmla="*/ 123 h 628"/>
                <a:gd name="T18" fmla="*/ 420 w 569"/>
                <a:gd name="T19" fmla="*/ 78 h 628"/>
                <a:gd name="T20" fmla="*/ 415 w 569"/>
                <a:gd name="T21" fmla="*/ 46 h 628"/>
                <a:gd name="T22" fmla="*/ 402 w 569"/>
                <a:gd name="T23" fmla="*/ 28 h 628"/>
                <a:gd name="T24" fmla="*/ 382 w 569"/>
                <a:gd name="T25" fmla="*/ 15 h 628"/>
                <a:gd name="T26" fmla="*/ 341 w 569"/>
                <a:gd name="T27" fmla="*/ 3 h 628"/>
                <a:gd name="T28" fmla="*/ 291 w 569"/>
                <a:gd name="T29" fmla="*/ 1 h 628"/>
                <a:gd name="T30" fmla="*/ 245 w 569"/>
                <a:gd name="T31" fmla="*/ 10 h 628"/>
                <a:gd name="T32" fmla="*/ 213 w 569"/>
                <a:gd name="T33" fmla="*/ 27 h 628"/>
                <a:gd name="T34" fmla="*/ 200 w 569"/>
                <a:gd name="T35" fmla="*/ 42 h 628"/>
                <a:gd name="T36" fmla="*/ 181 w 569"/>
                <a:gd name="T37" fmla="*/ 44 h 628"/>
                <a:gd name="T38" fmla="*/ 163 w 569"/>
                <a:gd name="T39" fmla="*/ 56 h 628"/>
                <a:gd name="T40" fmla="*/ 154 w 569"/>
                <a:gd name="T41" fmla="*/ 86 h 628"/>
                <a:gd name="T42" fmla="*/ 164 w 569"/>
                <a:gd name="T43" fmla="*/ 139 h 628"/>
                <a:gd name="T44" fmla="*/ 160 w 569"/>
                <a:gd name="T45" fmla="*/ 141 h 628"/>
                <a:gd name="T46" fmla="*/ 153 w 569"/>
                <a:gd name="T47" fmla="*/ 154 h 628"/>
                <a:gd name="T48" fmla="*/ 149 w 569"/>
                <a:gd name="T49" fmla="*/ 184 h 628"/>
                <a:gd name="T50" fmla="*/ 153 w 569"/>
                <a:gd name="T51" fmla="*/ 202 h 628"/>
                <a:gd name="T52" fmla="*/ 163 w 569"/>
                <a:gd name="T53" fmla="*/ 213 h 628"/>
                <a:gd name="T54" fmla="*/ 169 w 569"/>
                <a:gd name="T55" fmla="*/ 236 h 628"/>
                <a:gd name="T56" fmla="*/ 180 w 569"/>
                <a:gd name="T57" fmla="*/ 268 h 628"/>
                <a:gd name="T58" fmla="*/ 203 w 569"/>
                <a:gd name="T59" fmla="*/ 299 h 628"/>
                <a:gd name="T60" fmla="*/ 215 w 569"/>
                <a:gd name="T61" fmla="*/ 367 h 628"/>
                <a:gd name="T62" fmla="*/ 177 w 569"/>
                <a:gd name="T63" fmla="*/ 381 h 628"/>
                <a:gd name="T64" fmla="*/ 111 w 569"/>
                <a:gd name="T65" fmla="*/ 404 h 628"/>
                <a:gd name="T66" fmla="*/ 47 w 569"/>
                <a:gd name="T67" fmla="*/ 434 h 628"/>
                <a:gd name="T68" fmla="*/ 22 w 569"/>
                <a:gd name="T69" fmla="*/ 456 h 628"/>
                <a:gd name="T70" fmla="*/ 10 w 569"/>
                <a:gd name="T71" fmla="*/ 487 h 628"/>
                <a:gd name="T72" fmla="*/ 1 w 569"/>
                <a:gd name="T73" fmla="*/ 557 h 628"/>
                <a:gd name="T74" fmla="*/ 0 w 569"/>
                <a:gd name="T75" fmla="*/ 620 h 628"/>
                <a:gd name="T76" fmla="*/ 11 w 569"/>
                <a:gd name="T77" fmla="*/ 628 h 628"/>
                <a:gd name="T78" fmla="*/ 565 w 569"/>
                <a:gd name="T79" fmla="*/ 624 h 628"/>
                <a:gd name="T80" fmla="*/ 569 w 569"/>
                <a:gd name="T81" fmla="*/ 597 h 628"/>
                <a:gd name="T82" fmla="*/ 562 w 569"/>
                <a:gd name="T83" fmla="*/ 510 h 628"/>
                <a:gd name="T84" fmla="*/ 551 w 569"/>
                <a:gd name="T85" fmla="*/ 461 h 628"/>
                <a:gd name="T86" fmla="*/ 537 w 569"/>
                <a:gd name="T87" fmla="*/ 444 h 628"/>
                <a:gd name="T88" fmla="*/ 484 w 569"/>
                <a:gd name="T89" fmla="*/ 413 h 628"/>
                <a:gd name="T90" fmla="*/ 408 w 569"/>
                <a:gd name="T91" fmla="*/ 385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69" h="628">
                  <a:moveTo>
                    <a:pt x="408" y="385"/>
                  </a:moveTo>
                  <a:lnTo>
                    <a:pt x="397" y="380"/>
                  </a:lnTo>
                  <a:lnTo>
                    <a:pt x="384" y="376"/>
                  </a:lnTo>
                  <a:lnTo>
                    <a:pt x="372" y="372"/>
                  </a:lnTo>
                  <a:lnTo>
                    <a:pt x="359" y="367"/>
                  </a:lnTo>
                  <a:lnTo>
                    <a:pt x="359" y="309"/>
                  </a:lnTo>
                  <a:lnTo>
                    <a:pt x="366" y="306"/>
                  </a:lnTo>
                  <a:lnTo>
                    <a:pt x="371" y="299"/>
                  </a:lnTo>
                  <a:lnTo>
                    <a:pt x="379" y="290"/>
                  </a:lnTo>
                  <a:lnTo>
                    <a:pt x="385" y="280"/>
                  </a:lnTo>
                  <a:lnTo>
                    <a:pt x="390" y="268"/>
                  </a:lnTo>
                  <a:lnTo>
                    <a:pt x="397" y="253"/>
                  </a:lnTo>
                  <a:lnTo>
                    <a:pt x="400" y="236"/>
                  </a:lnTo>
                  <a:lnTo>
                    <a:pt x="402" y="216"/>
                  </a:lnTo>
                  <a:lnTo>
                    <a:pt x="406" y="213"/>
                  </a:lnTo>
                  <a:lnTo>
                    <a:pt x="409" y="211"/>
                  </a:lnTo>
                  <a:lnTo>
                    <a:pt x="412" y="207"/>
                  </a:lnTo>
                  <a:lnTo>
                    <a:pt x="415" y="203"/>
                  </a:lnTo>
                  <a:lnTo>
                    <a:pt x="417" y="198"/>
                  </a:lnTo>
                  <a:lnTo>
                    <a:pt x="418" y="191"/>
                  </a:lnTo>
                  <a:lnTo>
                    <a:pt x="420" y="184"/>
                  </a:lnTo>
                  <a:lnTo>
                    <a:pt x="420" y="177"/>
                  </a:lnTo>
                  <a:lnTo>
                    <a:pt x="418" y="164"/>
                  </a:lnTo>
                  <a:lnTo>
                    <a:pt x="416" y="154"/>
                  </a:lnTo>
                  <a:lnTo>
                    <a:pt x="411" y="145"/>
                  </a:lnTo>
                  <a:lnTo>
                    <a:pt x="406" y="140"/>
                  </a:lnTo>
                  <a:lnTo>
                    <a:pt x="411" y="123"/>
                  </a:lnTo>
                  <a:lnTo>
                    <a:pt x="417" y="101"/>
                  </a:lnTo>
                  <a:lnTo>
                    <a:pt x="418" y="90"/>
                  </a:lnTo>
                  <a:lnTo>
                    <a:pt x="420" y="78"/>
                  </a:lnTo>
                  <a:lnTo>
                    <a:pt x="420" y="65"/>
                  </a:lnTo>
                  <a:lnTo>
                    <a:pt x="417" y="53"/>
                  </a:lnTo>
                  <a:lnTo>
                    <a:pt x="415" y="46"/>
                  </a:lnTo>
                  <a:lnTo>
                    <a:pt x="412" y="40"/>
                  </a:lnTo>
                  <a:lnTo>
                    <a:pt x="407" y="33"/>
                  </a:lnTo>
                  <a:lnTo>
                    <a:pt x="402" y="28"/>
                  </a:lnTo>
                  <a:lnTo>
                    <a:pt x="397" y="23"/>
                  </a:lnTo>
                  <a:lnTo>
                    <a:pt x="390" y="19"/>
                  </a:lnTo>
                  <a:lnTo>
                    <a:pt x="382" y="15"/>
                  </a:lnTo>
                  <a:lnTo>
                    <a:pt x="375" y="11"/>
                  </a:lnTo>
                  <a:lnTo>
                    <a:pt x="359" y="6"/>
                  </a:lnTo>
                  <a:lnTo>
                    <a:pt x="341" y="3"/>
                  </a:lnTo>
                  <a:lnTo>
                    <a:pt x="325" y="1"/>
                  </a:lnTo>
                  <a:lnTo>
                    <a:pt x="307" y="0"/>
                  </a:lnTo>
                  <a:lnTo>
                    <a:pt x="291" y="1"/>
                  </a:lnTo>
                  <a:lnTo>
                    <a:pt x="276" y="3"/>
                  </a:lnTo>
                  <a:lnTo>
                    <a:pt x="259" y="5"/>
                  </a:lnTo>
                  <a:lnTo>
                    <a:pt x="245" y="10"/>
                  </a:lnTo>
                  <a:lnTo>
                    <a:pt x="231" y="15"/>
                  </a:lnTo>
                  <a:lnTo>
                    <a:pt x="218" y="23"/>
                  </a:lnTo>
                  <a:lnTo>
                    <a:pt x="213" y="27"/>
                  </a:lnTo>
                  <a:lnTo>
                    <a:pt x="208" y="32"/>
                  </a:lnTo>
                  <a:lnTo>
                    <a:pt x="204" y="37"/>
                  </a:lnTo>
                  <a:lnTo>
                    <a:pt x="200" y="42"/>
                  </a:lnTo>
                  <a:lnTo>
                    <a:pt x="194" y="42"/>
                  </a:lnTo>
                  <a:lnTo>
                    <a:pt x="186" y="42"/>
                  </a:lnTo>
                  <a:lnTo>
                    <a:pt x="181" y="44"/>
                  </a:lnTo>
                  <a:lnTo>
                    <a:pt x="176" y="46"/>
                  </a:lnTo>
                  <a:lnTo>
                    <a:pt x="168" y="51"/>
                  </a:lnTo>
                  <a:lnTo>
                    <a:pt x="163" y="56"/>
                  </a:lnTo>
                  <a:lnTo>
                    <a:pt x="158" y="65"/>
                  </a:lnTo>
                  <a:lnTo>
                    <a:pt x="155" y="76"/>
                  </a:lnTo>
                  <a:lnTo>
                    <a:pt x="154" y="86"/>
                  </a:lnTo>
                  <a:lnTo>
                    <a:pt x="155" y="98"/>
                  </a:lnTo>
                  <a:lnTo>
                    <a:pt x="159" y="11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0" y="141"/>
                  </a:lnTo>
                  <a:lnTo>
                    <a:pt x="158" y="145"/>
                  </a:lnTo>
                  <a:lnTo>
                    <a:pt x="155" y="149"/>
                  </a:lnTo>
                  <a:lnTo>
                    <a:pt x="153" y="154"/>
                  </a:lnTo>
                  <a:lnTo>
                    <a:pt x="149" y="164"/>
                  </a:lnTo>
                  <a:lnTo>
                    <a:pt x="149" y="177"/>
                  </a:lnTo>
                  <a:lnTo>
                    <a:pt x="149" y="184"/>
                  </a:lnTo>
                  <a:lnTo>
                    <a:pt x="150" y="190"/>
                  </a:lnTo>
                  <a:lnTo>
                    <a:pt x="151" y="196"/>
                  </a:lnTo>
                  <a:lnTo>
                    <a:pt x="153" y="202"/>
                  </a:lnTo>
                  <a:lnTo>
                    <a:pt x="155" y="205"/>
                  </a:lnTo>
                  <a:lnTo>
                    <a:pt x="159" y="211"/>
                  </a:lnTo>
                  <a:lnTo>
                    <a:pt x="163" y="213"/>
                  </a:lnTo>
                  <a:lnTo>
                    <a:pt x="167" y="216"/>
                  </a:lnTo>
                  <a:lnTo>
                    <a:pt x="167" y="226"/>
                  </a:lnTo>
                  <a:lnTo>
                    <a:pt x="169" y="236"/>
                  </a:lnTo>
                  <a:lnTo>
                    <a:pt x="171" y="245"/>
                  </a:lnTo>
                  <a:lnTo>
                    <a:pt x="173" y="253"/>
                  </a:lnTo>
                  <a:lnTo>
                    <a:pt x="180" y="268"/>
                  </a:lnTo>
                  <a:lnTo>
                    <a:pt x="187" y="281"/>
                  </a:lnTo>
                  <a:lnTo>
                    <a:pt x="195" y="291"/>
                  </a:lnTo>
                  <a:lnTo>
                    <a:pt x="203" y="299"/>
                  </a:lnTo>
                  <a:lnTo>
                    <a:pt x="209" y="306"/>
                  </a:lnTo>
                  <a:lnTo>
                    <a:pt x="215" y="311"/>
                  </a:lnTo>
                  <a:lnTo>
                    <a:pt x="215" y="367"/>
                  </a:lnTo>
                  <a:lnTo>
                    <a:pt x="203" y="372"/>
                  </a:lnTo>
                  <a:lnTo>
                    <a:pt x="190" y="376"/>
                  </a:lnTo>
                  <a:lnTo>
                    <a:pt x="177" y="381"/>
                  </a:lnTo>
                  <a:lnTo>
                    <a:pt x="164" y="385"/>
                  </a:lnTo>
                  <a:lnTo>
                    <a:pt x="137" y="395"/>
                  </a:lnTo>
                  <a:lnTo>
                    <a:pt x="111" y="404"/>
                  </a:lnTo>
                  <a:lnTo>
                    <a:pt x="87" y="413"/>
                  </a:lnTo>
                  <a:lnTo>
                    <a:pt x="65" y="424"/>
                  </a:lnTo>
                  <a:lnTo>
                    <a:pt x="47" y="434"/>
                  </a:lnTo>
                  <a:lnTo>
                    <a:pt x="32" y="444"/>
                  </a:lnTo>
                  <a:lnTo>
                    <a:pt x="25" y="449"/>
                  </a:lnTo>
                  <a:lnTo>
                    <a:pt x="22" y="456"/>
                  </a:lnTo>
                  <a:lnTo>
                    <a:pt x="18" y="462"/>
                  </a:lnTo>
                  <a:lnTo>
                    <a:pt x="14" y="467"/>
                  </a:lnTo>
                  <a:lnTo>
                    <a:pt x="10" y="487"/>
                  </a:lnTo>
                  <a:lnTo>
                    <a:pt x="6" y="510"/>
                  </a:lnTo>
                  <a:lnTo>
                    <a:pt x="4" y="533"/>
                  </a:lnTo>
                  <a:lnTo>
                    <a:pt x="1" y="557"/>
                  </a:lnTo>
                  <a:lnTo>
                    <a:pt x="0" y="597"/>
                  </a:lnTo>
                  <a:lnTo>
                    <a:pt x="0" y="616"/>
                  </a:lnTo>
                  <a:lnTo>
                    <a:pt x="0" y="620"/>
                  </a:lnTo>
                  <a:lnTo>
                    <a:pt x="2" y="624"/>
                  </a:lnTo>
                  <a:lnTo>
                    <a:pt x="6" y="627"/>
                  </a:lnTo>
                  <a:lnTo>
                    <a:pt x="11" y="628"/>
                  </a:lnTo>
                  <a:lnTo>
                    <a:pt x="557" y="628"/>
                  </a:lnTo>
                  <a:lnTo>
                    <a:pt x="561" y="627"/>
                  </a:lnTo>
                  <a:lnTo>
                    <a:pt x="565" y="624"/>
                  </a:lnTo>
                  <a:lnTo>
                    <a:pt x="567" y="620"/>
                  </a:lnTo>
                  <a:lnTo>
                    <a:pt x="569" y="616"/>
                  </a:lnTo>
                  <a:lnTo>
                    <a:pt x="569" y="597"/>
                  </a:lnTo>
                  <a:lnTo>
                    <a:pt x="567" y="557"/>
                  </a:lnTo>
                  <a:lnTo>
                    <a:pt x="565" y="533"/>
                  </a:lnTo>
                  <a:lnTo>
                    <a:pt x="562" y="510"/>
                  </a:lnTo>
                  <a:lnTo>
                    <a:pt x="558" y="487"/>
                  </a:lnTo>
                  <a:lnTo>
                    <a:pt x="555" y="467"/>
                  </a:lnTo>
                  <a:lnTo>
                    <a:pt x="551" y="461"/>
                  </a:lnTo>
                  <a:lnTo>
                    <a:pt x="547" y="456"/>
                  </a:lnTo>
                  <a:lnTo>
                    <a:pt x="543" y="449"/>
                  </a:lnTo>
                  <a:lnTo>
                    <a:pt x="537" y="444"/>
                  </a:lnTo>
                  <a:lnTo>
                    <a:pt x="522" y="433"/>
                  </a:lnTo>
                  <a:lnTo>
                    <a:pt x="504" y="422"/>
                  </a:lnTo>
                  <a:lnTo>
                    <a:pt x="484" y="413"/>
                  </a:lnTo>
                  <a:lnTo>
                    <a:pt x="461" y="404"/>
                  </a:lnTo>
                  <a:lnTo>
                    <a:pt x="435" y="394"/>
                  </a:lnTo>
                  <a:lnTo>
                    <a:pt x="408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3446">
              <a:extLst>
                <a:ext uri="{FF2B5EF4-FFF2-40B4-BE49-F238E27FC236}">
                  <a16:creationId xmlns:a16="http://schemas.microsoft.com/office/drawing/2014/main" id="{334072C5-8E7E-4A65-ABAD-8FD2AA02B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5313" y="5387975"/>
              <a:ext cx="112712" cy="247650"/>
            </a:xfrm>
            <a:custGeom>
              <a:avLst/>
              <a:gdLst>
                <a:gd name="T0" fmla="*/ 258 w 281"/>
                <a:gd name="T1" fmla="*/ 450 h 625"/>
                <a:gd name="T2" fmla="*/ 234 w 281"/>
                <a:gd name="T3" fmla="*/ 428 h 625"/>
                <a:gd name="T4" fmla="*/ 199 w 281"/>
                <a:gd name="T5" fmla="*/ 408 h 625"/>
                <a:gd name="T6" fmla="*/ 103 w 281"/>
                <a:gd name="T7" fmla="*/ 367 h 625"/>
                <a:gd name="T8" fmla="*/ 65 w 281"/>
                <a:gd name="T9" fmla="*/ 319 h 625"/>
                <a:gd name="T10" fmla="*/ 86 w 281"/>
                <a:gd name="T11" fmla="*/ 301 h 625"/>
                <a:gd name="T12" fmla="*/ 108 w 281"/>
                <a:gd name="T13" fmla="*/ 265 h 625"/>
                <a:gd name="T14" fmla="*/ 113 w 281"/>
                <a:gd name="T15" fmla="*/ 238 h 625"/>
                <a:gd name="T16" fmla="*/ 122 w 281"/>
                <a:gd name="T17" fmla="*/ 223 h 625"/>
                <a:gd name="T18" fmla="*/ 130 w 281"/>
                <a:gd name="T19" fmla="*/ 209 h 625"/>
                <a:gd name="T20" fmla="*/ 132 w 281"/>
                <a:gd name="T21" fmla="*/ 188 h 625"/>
                <a:gd name="T22" fmla="*/ 123 w 281"/>
                <a:gd name="T23" fmla="*/ 157 h 625"/>
                <a:gd name="T24" fmla="*/ 118 w 281"/>
                <a:gd name="T25" fmla="*/ 151 h 625"/>
                <a:gd name="T26" fmla="*/ 131 w 281"/>
                <a:gd name="T27" fmla="*/ 97 h 625"/>
                <a:gd name="T28" fmla="*/ 130 w 281"/>
                <a:gd name="T29" fmla="*/ 59 h 625"/>
                <a:gd name="T30" fmla="*/ 117 w 281"/>
                <a:gd name="T31" fmla="*/ 35 h 625"/>
                <a:gd name="T32" fmla="*/ 94 w 281"/>
                <a:gd name="T33" fmla="*/ 15 h 625"/>
                <a:gd name="T34" fmla="*/ 65 w 281"/>
                <a:gd name="T35" fmla="*/ 2 h 625"/>
                <a:gd name="T36" fmla="*/ 38 w 281"/>
                <a:gd name="T37" fmla="*/ 0 h 625"/>
                <a:gd name="T38" fmla="*/ 13 w 281"/>
                <a:gd name="T39" fmla="*/ 7 h 625"/>
                <a:gd name="T40" fmla="*/ 0 w 281"/>
                <a:gd name="T41" fmla="*/ 20 h 625"/>
                <a:gd name="T42" fmla="*/ 5 w 281"/>
                <a:gd name="T43" fmla="*/ 32 h 625"/>
                <a:gd name="T44" fmla="*/ 18 w 281"/>
                <a:gd name="T45" fmla="*/ 32 h 625"/>
                <a:gd name="T46" fmla="*/ 38 w 281"/>
                <a:gd name="T47" fmla="*/ 24 h 625"/>
                <a:gd name="T48" fmla="*/ 67 w 281"/>
                <a:gd name="T49" fmla="*/ 28 h 625"/>
                <a:gd name="T50" fmla="*/ 89 w 281"/>
                <a:gd name="T51" fmla="*/ 41 h 625"/>
                <a:gd name="T52" fmla="*/ 103 w 281"/>
                <a:gd name="T53" fmla="*/ 56 h 625"/>
                <a:gd name="T54" fmla="*/ 108 w 281"/>
                <a:gd name="T55" fmla="*/ 75 h 625"/>
                <a:gd name="T56" fmla="*/ 105 w 281"/>
                <a:gd name="T57" fmla="*/ 107 h 625"/>
                <a:gd name="T58" fmla="*/ 92 w 281"/>
                <a:gd name="T59" fmla="*/ 152 h 625"/>
                <a:gd name="T60" fmla="*/ 94 w 281"/>
                <a:gd name="T61" fmla="*/ 166 h 625"/>
                <a:gd name="T62" fmla="*/ 104 w 281"/>
                <a:gd name="T63" fmla="*/ 172 h 625"/>
                <a:gd name="T64" fmla="*/ 109 w 281"/>
                <a:gd name="T65" fmla="*/ 188 h 625"/>
                <a:gd name="T66" fmla="*/ 104 w 281"/>
                <a:gd name="T67" fmla="*/ 206 h 625"/>
                <a:gd name="T68" fmla="*/ 94 w 281"/>
                <a:gd name="T69" fmla="*/ 210 h 625"/>
                <a:gd name="T70" fmla="*/ 90 w 281"/>
                <a:gd name="T71" fmla="*/ 231 h 625"/>
                <a:gd name="T72" fmla="*/ 85 w 281"/>
                <a:gd name="T73" fmla="*/ 259 h 625"/>
                <a:gd name="T74" fmla="*/ 55 w 281"/>
                <a:gd name="T75" fmla="*/ 297 h 625"/>
                <a:gd name="T76" fmla="*/ 44 w 281"/>
                <a:gd name="T77" fmla="*/ 306 h 625"/>
                <a:gd name="T78" fmla="*/ 41 w 281"/>
                <a:gd name="T79" fmla="*/ 360 h 625"/>
                <a:gd name="T80" fmla="*/ 46 w 281"/>
                <a:gd name="T81" fmla="*/ 371 h 625"/>
                <a:gd name="T82" fmla="*/ 119 w 281"/>
                <a:gd name="T83" fmla="*/ 399 h 625"/>
                <a:gd name="T84" fmla="*/ 222 w 281"/>
                <a:gd name="T85" fmla="*/ 449 h 625"/>
                <a:gd name="T86" fmla="*/ 241 w 281"/>
                <a:gd name="T87" fmla="*/ 467 h 625"/>
                <a:gd name="T88" fmla="*/ 250 w 281"/>
                <a:gd name="T89" fmla="*/ 503 h 625"/>
                <a:gd name="T90" fmla="*/ 257 w 281"/>
                <a:gd name="T91" fmla="*/ 574 h 625"/>
                <a:gd name="T92" fmla="*/ 204 w 281"/>
                <a:gd name="T93" fmla="*/ 602 h 625"/>
                <a:gd name="T94" fmla="*/ 196 w 281"/>
                <a:gd name="T95" fmla="*/ 613 h 625"/>
                <a:gd name="T96" fmla="*/ 204 w 281"/>
                <a:gd name="T97" fmla="*/ 624 h 625"/>
                <a:gd name="T98" fmla="*/ 273 w 281"/>
                <a:gd name="T99" fmla="*/ 624 h 625"/>
                <a:gd name="T100" fmla="*/ 281 w 281"/>
                <a:gd name="T101" fmla="*/ 613 h 625"/>
                <a:gd name="T102" fmla="*/ 277 w 281"/>
                <a:gd name="T103" fmla="*/ 530 h 625"/>
                <a:gd name="T104" fmla="*/ 267 w 281"/>
                <a:gd name="T105" fmla="*/ 464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1" h="625">
                  <a:moveTo>
                    <a:pt x="267" y="464"/>
                  </a:moveTo>
                  <a:lnTo>
                    <a:pt x="263" y="457"/>
                  </a:lnTo>
                  <a:lnTo>
                    <a:pt x="258" y="450"/>
                  </a:lnTo>
                  <a:lnTo>
                    <a:pt x="252" y="443"/>
                  </a:lnTo>
                  <a:lnTo>
                    <a:pt x="244" y="435"/>
                  </a:lnTo>
                  <a:lnTo>
                    <a:pt x="234" y="428"/>
                  </a:lnTo>
                  <a:lnTo>
                    <a:pt x="223" y="421"/>
                  </a:lnTo>
                  <a:lnTo>
                    <a:pt x="212" y="414"/>
                  </a:lnTo>
                  <a:lnTo>
                    <a:pt x="199" y="408"/>
                  </a:lnTo>
                  <a:lnTo>
                    <a:pt x="169" y="394"/>
                  </a:lnTo>
                  <a:lnTo>
                    <a:pt x="137" y="381"/>
                  </a:lnTo>
                  <a:lnTo>
                    <a:pt x="103" y="367"/>
                  </a:lnTo>
                  <a:lnTo>
                    <a:pt x="65" y="353"/>
                  </a:lnTo>
                  <a:lnTo>
                    <a:pt x="65" y="353"/>
                  </a:lnTo>
                  <a:lnTo>
                    <a:pt x="65" y="319"/>
                  </a:lnTo>
                  <a:lnTo>
                    <a:pt x="72" y="315"/>
                  </a:lnTo>
                  <a:lnTo>
                    <a:pt x="78" y="309"/>
                  </a:lnTo>
                  <a:lnTo>
                    <a:pt x="86" y="301"/>
                  </a:lnTo>
                  <a:lnTo>
                    <a:pt x="94" y="292"/>
                  </a:lnTo>
                  <a:lnTo>
                    <a:pt x="101" y="279"/>
                  </a:lnTo>
                  <a:lnTo>
                    <a:pt x="108" y="265"/>
                  </a:lnTo>
                  <a:lnTo>
                    <a:pt x="110" y="256"/>
                  </a:lnTo>
                  <a:lnTo>
                    <a:pt x="112" y="247"/>
                  </a:lnTo>
                  <a:lnTo>
                    <a:pt x="113" y="238"/>
                  </a:lnTo>
                  <a:lnTo>
                    <a:pt x="114" y="228"/>
                  </a:lnTo>
                  <a:lnTo>
                    <a:pt x="118" y="226"/>
                  </a:lnTo>
                  <a:lnTo>
                    <a:pt x="122" y="223"/>
                  </a:lnTo>
                  <a:lnTo>
                    <a:pt x="125" y="219"/>
                  </a:lnTo>
                  <a:lnTo>
                    <a:pt x="127" y="215"/>
                  </a:lnTo>
                  <a:lnTo>
                    <a:pt x="130" y="209"/>
                  </a:lnTo>
                  <a:lnTo>
                    <a:pt x="131" y="202"/>
                  </a:lnTo>
                  <a:lnTo>
                    <a:pt x="132" y="196"/>
                  </a:lnTo>
                  <a:lnTo>
                    <a:pt x="132" y="188"/>
                  </a:lnTo>
                  <a:lnTo>
                    <a:pt x="131" y="177"/>
                  </a:lnTo>
                  <a:lnTo>
                    <a:pt x="128" y="166"/>
                  </a:lnTo>
                  <a:lnTo>
                    <a:pt x="123" y="157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8" y="151"/>
                  </a:lnTo>
                  <a:lnTo>
                    <a:pt x="123" y="133"/>
                  </a:lnTo>
                  <a:lnTo>
                    <a:pt x="130" y="110"/>
                  </a:lnTo>
                  <a:lnTo>
                    <a:pt x="131" y="97"/>
                  </a:lnTo>
                  <a:lnTo>
                    <a:pt x="132" y="84"/>
                  </a:lnTo>
                  <a:lnTo>
                    <a:pt x="132" y="71"/>
                  </a:lnTo>
                  <a:lnTo>
                    <a:pt x="130" y="59"/>
                  </a:lnTo>
                  <a:lnTo>
                    <a:pt x="127" y="51"/>
                  </a:lnTo>
                  <a:lnTo>
                    <a:pt x="122" y="43"/>
                  </a:lnTo>
                  <a:lnTo>
                    <a:pt x="117" y="35"/>
                  </a:lnTo>
                  <a:lnTo>
                    <a:pt x="110" y="28"/>
                  </a:lnTo>
                  <a:lnTo>
                    <a:pt x="103" y="21"/>
                  </a:lnTo>
                  <a:lnTo>
                    <a:pt x="94" y="15"/>
                  </a:lnTo>
                  <a:lnTo>
                    <a:pt x="85" y="10"/>
                  </a:lnTo>
                  <a:lnTo>
                    <a:pt x="76" y="6"/>
                  </a:lnTo>
                  <a:lnTo>
                    <a:pt x="65" y="2"/>
                  </a:lnTo>
                  <a:lnTo>
                    <a:pt x="56" y="1"/>
                  </a:lnTo>
                  <a:lnTo>
                    <a:pt x="47" y="0"/>
                  </a:lnTo>
                  <a:lnTo>
                    <a:pt x="38" y="0"/>
                  </a:lnTo>
                  <a:lnTo>
                    <a:pt x="29" y="2"/>
                  </a:lnTo>
                  <a:lnTo>
                    <a:pt x="22" y="3"/>
                  </a:lnTo>
                  <a:lnTo>
                    <a:pt x="13" y="7"/>
                  </a:lnTo>
                  <a:lnTo>
                    <a:pt x="5" y="12"/>
                  </a:lnTo>
                  <a:lnTo>
                    <a:pt x="1" y="15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1" y="29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4" y="34"/>
                  </a:lnTo>
                  <a:lnTo>
                    <a:pt x="18" y="32"/>
                  </a:lnTo>
                  <a:lnTo>
                    <a:pt x="26" y="29"/>
                  </a:lnTo>
                  <a:lnTo>
                    <a:pt x="32" y="26"/>
                  </a:lnTo>
                  <a:lnTo>
                    <a:pt x="38" y="24"/>
                  </a:lnTo>
                  <a:lnTo>
                    <a:pt x="45" y="24"/>
                  </a:lnTo>
                  <a:lnTo>
                    <a:pt x="56" y="25"/>
                  </a:lnTo>
                  <a:lnTo>
                    <a:pt x="67" y="28"/>
                  </a:lnTo>
                  <a:lnTo>
                    <a:pt x="74" y="32"/>
                  </a:lnTo>
                  <a:lnTo>
                    <a:pt x="82" y="35"/>
                  </a:lnTo>
                  <a:lnTo>
                    <a:pt x="89" y="41"/>
                  </a:lnTo>
                  <a:lnTo>
                    <a:pt x="94" y="46"/>
                  </a:lnTo>
                  <a:lnTo>
                    <a:pt x="99" y="51"/>
                  </a:lnTo>
                  <a:lnTo>
                    <a:pt x="103" y="56"/>
                  </a:lnTo>
                  <a:lnTo>
                    <a:pt x="105" y="61"/>
                  </a:lnTo>
                  <a:lnTo>
                    <a:pt x="107" y="65"/>
                  </a:lnTo>
                  <a:lnTo>
                    <a:pt x="108" y="75"/>
                  </a:lnTo>
                  <a:lnTo>
                    <a:pt x="108" y="86"/>
                  </a:lnTo>
                  <a:lnTo>
                    <a:pt x="108" y="97"/>
                  </a:lnTo>
                  <a:lnTo>
                    <a:pt x="105" y="107"/>
                  </a:lnTo>
                  <a:lnTo>
                    <a:pt x="100" y="127"/>
                  </a:lnTo>
                  <a:lnTo>
                    <a:pt x="95" y="142"/>
                  </a:lnTo>
                  <a:lnTo>
                    <a:pt x="92" y="152"/>
                  </a:lnTo>
                  <a:lnTo>
                    <a:pt x="91" y="159"/>
                  </a:lnTo>
                  <a:lnTo>
                    <a:pt x="91" y="163"/>
                  </a:lnTo>
                  <a:lnTo>
                    <a:pt x="94" y="166"/>
                  </a:lnTo>
                  <a:lnTo>
                    <a:pt x="98" y="169"/>
                  </a:lnTo>
                  <a:lnTo>
                    <a:pt x="103" y="170"/>
                  </a:lnTo>
                  <a:lnTo>
                    <a:pt x="104" y="172"/>
                  </a:lnTo>
                  <a:lnTo>
                    <a:pt x="107" y="175"/>
                  </a:lnTo>
                  <a:lnTo>
                    <a:pt x="108" y="181"/>
                  </a:lnTo>
                  <a:lnTo>
                    <a:pt x="109" y="188"/>
                  </a:lnTo>
                  <a:lnTo>
                    <a:pt x="108" y="197"/>
                  </a:lnTo>
                  <a:lnTo>
                    <a:pt x="105" y="204"/>
                  </a:lnTo>
                  <a:lnTo>
                    <a:pt x="104" y="206"/>
                  </a:lnTo>
                  <a:lnTo>
                    <a:pt x="103" y="208"/>
                  </a:lnTo>
                  <a:lnTo>
                    <a:pt x="98" y="208"/>
                  </a:lnTo>
                  <a:lnTo>
                    <a:pt x="94" y="210"/>
                  </a:lnTo>
                  <a:lnTo>
                    <a:pt x="91" y="214"/>
                  </a:lnTo>
                  <a:lnTo>
                    <a:pt x="91" y="219"/>
                  </a:lnTo>
                  <a:lnTo>
                    <a:pt x="90" y="231"/>
                  </a:lnTo>
                  <a:lnTo>
                    <a:pt x="89" y="241"/>
                  </a:lnTo>
                  <a:lnTo>
                    <a:pt x="87" y="250"/>
                  </a:lnTo>
                  <a:lnTo>
                    <a:pt x="85" y="259"/>
                  </a:lnTo>
                  <a:lnTo>
                    <a:pt x="78" y="273"/>
                  </a:lnTo>
                  <a:lnTo>
                    <a:pt x="71" y="283"/>
                  </a:lnTo>
                  <a:lnTo>
                    <a:pt x="55" y="297"/>
                  </a:lnTo>
                  <a:lnTo>
                    <a:pt x="49" y="301"/>
                  </a:lnTo>
                  <a:lnTo>
                    <a:pt x="45" y="304"/>
                  </a:lnTo>
                  <a:lnTo>
                    <a:pt x="44" y="306"/>
                  </a:lnTo>
                  <a:lnTo>
                    <a:pt x="41" y="309"/>
                  </a:lnTo>
                  <a:lnTo>
                    <a:pt x="41" y="313"/>
                  </a:lnTo>
                  <a:lnTo>
                    <a:pt x="41" y="360"/>
                  </a:lnTo>
                  <a:lnTo>
                    <a:pt x="41" y="364"/>
                  </a:lnTo>
                  <a:lnTo>
                    <a:pt x="44" y="368"/>
                  </a:lnTo>
                  <a:lnTo>
                    <a:pt x="46" y="371"/>
                  </a:lnTo>
                  <a:lnTo>
                    <a:pt x="49" y="372"/>
                  </a:lnTo>
                  <a:lnTo>
                    <a:pt x="58" y="376"/>
                  </a:lnTo>
                  <a:lnTo>
                    <a:pt x="119" y="399"/>
                  </a:lnTo>
                  <a:lnTo>
                    <a:pt x="177" y="423"/>
                  </a:lnTo>
                  <a:lnTo>
                    <a:pt x="202" y="436"/>
                  </a:lnTo>
                  <a:lnTo>
                    <a:pt x="222" y="449"/>
                  </a:lnTo>
                  <a:lnTo>
                    <a:pt x="230" y="454"/>
                  </a:lnTo>
                  <a:lnTo>
                    <a:pt x="236" y="461"/>
                  </a:lnTo>
                  <a:lnTo>
                    <a:pt x="241" y="467"/>
                  </a:lnTo>
                  <a:lnTo>
                    <a:pt x="244" y="472"/>
                  </a:lnTo>
                  <a:lnTo>
                    <a:pt x="248" y="486"/>
                  </a:lnTo>
                  <a:lnTo>
                    <a:pt x="250" y="503"/>
                  </a:lnTo>
                  <a:lnTo>
                    <a:pt x="253" y="520"/>
                  </a:lnTo>
                  <a:lnTo>
                    <a:pt x="254" y="539"/>
                  </a:lnTo>
                  <a:lnTo>
                    <a:pt x="257" y="574"/>
                  </a:lnTo>
                  <a:lnTo>
                    <a:pt x="257" y="601"/>
                  </a:lnTo>
                  <a:lnTo>
                    <a:pt x="209" y="601"/>
                  </a:lnTo>
                  <a:lnTo>
                    <a:pt x="204" y="602"/>
                  </a:lnTo>
                  <a:lnTo>
                    <a:pt x="200" y="604"/>
                  </a:lnTo>
                  <a:lnTo>
                    <a:pt x="198" y="608"/>
                  </a:lnTo>
                  <a:lnTo>
                    <a:pt x="196" y="613"/>
                  </a:lnTo>
                  <a:lnTo>
                    <a:pt x="198" y="617"/>
                  </a:lnTo>
                  <a:lnTo>
                    <a:pt x="200" y="621"/>
                  </a:lnTo>
                  <a:lnTo>
                    <a:pt x="204" y="624"/>
                  </a:lnTo>
                  <a:lnTo>
                    <a:pt x="209" y="625"/>
                  </a:lnTo>
                  <a:lnTo>
                    <a:pt x="270" y="625"/>
                  </a:lnTo>
                  <a:lnTo>
                    <a:pt x="273" y="624"/>
                  </a:lnTo>
                  <a:lnTo>
                    <a:pt x="277" y="621"/>
                  </a:lnTo>
                  <a:lnTo>
                    <a:pt x="280" y="617"/>
                  </a:lnTo>
                  <a:lnTo>
                    <a:pt x="281" y="613"/>
                  </a:lnTo>
                  <a:lnTo>
                    <a:pt x="281" y="594"/>
                  </a:lnTo>
                  <a:lnTo>
                    <a:pt x="280" y="554"/>
                  </a:lnTo>
                  <a:lnTo>
                    <a:pt x="277" y="530"/>
                  </a:lnTo>
                  <a:lnTo>
                    <a:pt x="275" y="507"/>
                  </a:lnTo>
                  <a:lnTo>
                    <a:pt x="271" y="484"/>
                  </a:lnTo>
                  <a:lnTo>
                    <a:pt x="267" y="4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BB60BDA-D4C1-4C07-BE44-8158EF962C92}"/>
              </a:ext>
            </a:extLst>
          </p:cNvPr>
          <p:cNvGrpSpPr/>
          <p:nvPr/>
        </p:nvGrpSpPr>
        <p:grpSpPr>
          <a:xfrm>
            <a:off x="7283722" y="4934265"/>
            <a:ext cx="347679" cy="336153"/>
            <a:chOff x="4892675" y="2501900"/>
            <a:chExt cx="287338" cy="277813"/>
          </a:xfrm>
          <a:solidFill>
            <a:schemeClr val="bg1"/>
          </a:solidFill>
        </p:grpSpPr>
        <p:sp>
          <p:nvSpPr>
            <p:cNvPr id="79" name="Freeform 300">
              <a:extLst>
                <a:ext uri="{FF2B5EF4-FFF2-40B4-BE49-F238E27FC236}">
                  <a16:creationId xmlns:a16="http://schemas.microsoft.com/office/drawing/2014/main" id="{079F1AF8-61FC-4E38-A00F-4F8AC7B28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2501900"/>
              <a:ext cx="227013" cy="157163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301">
              <a:extLst>
                <a:ext uri="{FF2B5EF4-FFF2-40B4-BE49-F238E27FC236}">
                  <a16:creationId xmlns:a16="http://schemas.microsoft.com/office/drawing/2014/main" id="{12F6D320-A2D7-49AA-A59C-B7DFD83EB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5" y="2587625"/>
              <a:ext cx="287338" cy="192088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F7442ED-E503-49F5-9126-27F11E0DE074}"/>
              </a:ext>
            </a:extLst>
          </p:cNvPr>
          <p:cNvGrpSpPr/>
          <p:nvPr/>
        </p:nvGrpSpPr>
        <p:grpSpPr>
          <a:xfrm>
            <a:off x="4567322" y="4930423"/>
            <a:ext cx="334234" cy="343837"/>
            <a:chOff x="7048500" y="1387475"/>
            <a:chExt cx="276226" cy="284163"/>
          </a:xfrm>
          <a:solidFill>
            <a:schemeClr val="bg1"/>
          </a:solidFill>
        </p:grpSpPr>
        <p:sp>
          <p:nvSpPr>
            <p:cNvPr id="82" name="Freeform 4357">
              <a:extLst>
                <a:ext uri="{FF2B5EF4-FFF2-40B4-BE49-F238E27FC236}">
                  <a16:creationId xmlns:a16="http://schemas.microsoft.com/office/drawing/2014/main" id="{5D20C8D8-9E27-4678-9329-87F88DA477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1213" y="1387475"/>
              <a:ext cx="163513" cy="160338"/>
            </a:xfrm>
            <a:custGeom>
              <a:avLst/>
              <a:gdLst>
                <a:gd name="T0" fmla="*/ 229 w 512"/>
                <a:gd name="T1" fmla="*/ 345 h 506"/>
                <a:gd name="T2" fmla="*/ 198 w 512"/>
                <a:gd name="T3" fmla="*/ 328 h 506"/>
                <a:gd name="T4" fmla="*/ 177 w 512"/>
                <a:gd name="T5" fmla="*/ 302 h 506"/>
                <a:gd name="T6" fmla="*/ 166 w 512"/>
                <a:gd name="T7" fmla="*/ 268 h 506"/>
                <a:gd name="T8" fmla="*/ 169 w 512"/>
                <a:gd name="T9" fmla="*/ 232 h 506"/>
                <a:gd name="T10" fmla="*/ 187 w 512"/>
                <a:gd name="T11" fmla="*/ 201 h 506"/>
                <a:gd name="T12" fmla="*/ 213 w 512"/>
                <a:gd name="T13" fmla="*/ 179 h 506"/>
                <a:gd name="T14" fmla="*/ 246 w 512"/>
                <a:gd name="T15" fmla="*/ 169 h 506"/>
                <a:gd name="T16" fmla="*/ 283 w 512"/>
                <a:gd name="T17" fmla="*/ 172 h 506"/>
                <a:gd name="T18" fmla="*/ 314 w 512"/>
                <a:gd name="T19" fmla="*/ 189 h 506"/>
                <a:gd name="T20" fmla="*/ 335 w 512"/>
                <a:gd name="T21" fmla="*/ 216 h 506"/>
                <a:gd name="T22" fmla="*/ 346 w 512"/>
                <a:gd name="T23" fmla="*/ 250 h 506"/>
                <a:gd name="T24" fmla="*/ 343 w 512"/>
                <a:gd name="T25" fmla="*/ 286 h 506"/>
                <a:gd name="T26" fmla="*/ 326 w 512"/>
                <a:gd name="T27" fmla="*/ 316 h 506"/>
                <a:gd name="T28" fmla="*/ 299 w 512"/>
                <a:gd name="T29" fmla="*/ 338 h 506"/>
                <a:gd name="T30" fmla="*/ 265 w 512"/>
                <a:gd name="T31" fmla="*/ 348 h 506"/>
                <a:gd name="T32" fmla="*/ 458 w 512"/>
                <a:gd name="T33" fmla="*/ 276 h 506"/>
                <a:gd name="T34" fmla="*/ 504 w 512"/>
                <a:gd name="T35" fmla="*/ 198 h 506"/>
                <a:gd name="T36" fmla="*/ 511 w 512"/>
                <a:gd name="T37" fmla="*/ 189 h 506"/>
                <a:gd name="T38" fmla="*/ 510 w 512"/>
                <a:gd name="T39" fmla="*/ 178 h 506"/>
                <a:gd name="T40" fmla="*/ 438 w 512"/>
                <a:gd name="T41" fmla="*/ 72 h 506"/>
                <a:gd name="T42" fmla="*/ 363 w 512"/>
                <a:gd name="T43" fmla="*/ 85 h 506"/>
                <a:gd name="T44" fmla="*/ 332 w 512"/>
                <a:gd name="T45" fmla="*/ 10 h 506"/>
                <a:gd name="T46" fmla="*/ 326 w 512"/>
                <a:gd name="T47" fmla="*/ 2 h 506"/>
                <a:gd name="T48" fmla="*/ 204 w 512"/>
                <a:gd name="T49" fmla="*/ 0 h 506"/>
                <a:gd name="T50" fmla="*/ 193 w 512"/>
                <a:gd name="T51" fmla="*/ 3 h 506"/>
                <a:gd name="T52" fmla="*/ 189 w 512"/>
                <a:gd name="T53" fmla="*/ 14 h 506"/>
                <a:gd name="T54" fmla="*/ 162 w 512"/>
                <a:gd name="T55" fmla="*/ 78 h 506"/>
                <a:gd name="T56" fmla="*/ 81 w 512"/>
                <a:gd name="T57" fmla="*/ 74 h 506"/>
                <a:gd name="T58" fmla="*/ 65 w 512"/>
                <a:gd name="T59" fmla="*/ 76 h 506"/>
                <a:gd name="T60" fmla="*/ 1 w 512"/>
                <a:gd name="T61" fmla="*/ 184 h 506"/>
                <a:gd name="T62" fmla="*/ 6 w 512"/>
                <a:gd name="T63" fmla="*/ 197 h 506"/>
                <a:gd name="T64" fmla="*/ 53 w 512"/>
                <a:gd name="T65" fmla="*/ 259 h 506"/>
                <a:gd name="T66" fmla="*/ 4 w 512"/>
                <a:gd name="T67" fmla="*/ 324 h 506"/>
                <a:gd name="T68" fmla="*/ 1 w 512"/>
                <a:gd name="T69" fmla="*/ 338 h 506"/>
                <a:gd name="T70" fmla="*/ 62 w 512"/>
                <a:gd name="T71" fmla="*/ 442 h 506"/>
                <a:gd name="T72" fmla="*/ 73 w 512"/>
                <a:gd name="T73" fmla="*/ 445 h 506"/>
                <a:gd name="T74" fmla="*/ 141 w 512"/>
                <a:gd name="T75" fmla="*/ 427 h 506"/>
                <a:gd name="T76" fmla="*/ 179 w 512"/>
                <a:gd name="T77" fmla="*/ 447 h 506"/>
                <a:gd name="T78" fmla="*/ 190 w 512"/>
                <a:gd name="T79" fmla="*/ 497 h 506"/>
                <a:gd name="T80" fmla="*/ 198 w 512"/>
                <a:gd name="T81" fmla="*/ 505 h 506"/>
                <a:gd name="T82" fmla="*/ 320 w 512"/>
                <a:gd name="T83" fmla="*/ 506 h 506"/>
                <a:gd name="T84" fmla="*/ 330 w 512"/>
                <a:gd name="T85" fmla="*/ 499 h 506"/>
                <a:gd name="T86" fmla="*/ 332 w 512"/>
                <a:gd name="T87" fmla="*/ 448 h 506"/>
                <a:gd name="T88" fmla="*/ 387 w 512"/>
                <a:gd name="T89" fmla="*/ 416 h 506"/>
                <a:gd name="T90" fmla="*/ 441 w 512"/>
                <a:gd name="T91" fmla="*/ 446 h 506"/>
                <a:gd name="T92" fmla="*/ 451 w 512"/>
                <a:gd name="T93" fmla="*/ 440 h 506"/>
                <a:gd name="T94" fmla="*/ 512 w 512"/>
                <a:gd name="T95" fmla="*/ 335 h 506"/>
                <a:gd name="T96" fmla="*/ 509 w 512"/>
                <a:gd name="T97" fmla="*/ 32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06">
                  <a:moveTo>
                    <a:pt x="256" y="350"/>
                  </a:moveTo>
                  <a:lnTo>
                    <a:pt x="246" y="348"/>
                  </a:lnTo>
                  <a:lnTo>
                    <a:pt x="238" y="347"/>
                  </a:lnTo>
                  <a:lnTo>
                    <a:pt x="229" y="345"/>
                  </a:lnTo>
                  <a:lnTo>
                    <a:pt x="221" y="342"/>
                  </a:lnTo>
                  <a:lnTo>
                    <a:pt x="213" y="338"/>
                  </a:lnTo>
                  <a:lnTo>
                    <a:pt x="206" y="334"/>
                  </a:lnTo>
                  <a:lnTo>
                    <a:pt x="198" y="328"/>
                  </a:lnTo>
                  <a:lnTo>
                    <a:pt x="192" y="323"/>
                  </a:lnTo>
                  <a:lnTo>
                    <a:pt x="187" y="316"/>
                  </a:lnTo>
                  <a:lnTo>
                    <a:pt x="181" y="310"/>
                  </a:lnTo>
                  <a:lnTo>
                    <a:pt x="177" y="302"/>
                  </a:lnTo>
                  <a:lnTo>
                    <a:pt x="173" y="294"/>
                  </a:lnTo>
                  <a:lnTo>
                    <a:pt x="169" y="286"/>
                  </a:lnTo>
                  <a:lnTo>
                    <a:pt x="167" y="278"/>
                  </a:lnTo>
                  <a:lnTo>
                    <a:pt x="166" y="268"/>
                  </a:lnTo>
                  <a:lnTo>
                    <a:pt x="165" y="260"/>
                  </a:lnTo>
                  <a:lnTo>
                    <a:pt x="166" y="250"/>
                  </a:lnTo>
                  <a:lnTo>
                    <a:pt x="167" y="240"/>
                  </a:lnTo>
                  <a:lnTo>
                    <a:pt x="169" y="232"/>
                  </a:lnTo>
                  <a:lnTo>
                    <a:pt x="173" y="223"/>
                  </a:lnTo>
                  <a:lnTo>
                    <a:pt x="177" y="216"/>
                  </a:lnTo>
                  <a:lnTo>
                    <a:pt x="181" y="208"/>
                  </a:lnTo>
                  <a:lnTo>
                    <a:pt x="187" y="201"/>
                  </a:lnTo>
                  <a:lnTo>
                    <a:pt x="192" y="194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13" y="179"/>
                  </a:lnTo>
                  <a:lnTo>
                    <a:pt x="221" y="175"/>
                  </a:lnTo>
                  <a:lnTo>
                    <a:pt x="229" y="172"/>
                  </a:lnTo>
                  <a:lnTo>
                    <a:pt x="238" y="170"/>
                  </a:lnTo>
                  <a:lnTo>
                    <a:pt x="246" y="169"/>
                  </a:lnTo>
                  <a:lnTo>
                    <a:pt x="256" y="168"/>
                  </a:lnTo>
                  <a:lnTo>
                    <a:pt x="265" y="169"/>
                  </a:lnTo>
                  <a:lnTo>
                    <a:pt x="274" y="170"/>
                  </a:lnTo>
                  <a:lnTo>
                    <a:pt x="283" y="172"/>
                  </a:lnTo>
                  <a:lnTo>
                    <a:pt x="291" y="175"/>
                  </a:lnTo>
                  <a:lnTo>
                    <a:pt x="299" y="179"/>
                  </a:lnTo>
                  <a:lnTo>
                    <a:pt x="306" y="184"/>
                  </a:lnTo>
                  <a:lnTo>
                    <a:pt x="314" y="189"/>
                  </a:lnTo>
                  <a:lnTo>
                    <a:pt x="320" y="194"/>
                  </a:lnTo>
                  <a:lnTo>
                    <a:pt x="326" y="201"/>
                  </a:lnTo>
                  <a:lnTo>
                    <a:pt x="331" y="208"/>
                  </a:lnTo>
                  <a:lnTo>
                    <a:pt x="335" y="216"/>
                  </a:lnTo>
                  <a:lnTo>
                    <a:pt x="340" y="223"/>
                  </a:lnTo>
                  <a:lnTo>
                    <a:pt x="343" y="232"/>
                  </a:lnTo>
                  <a:lnTo>
                    <a:pt x="345" y="240"/>
                  </a:lnTo>
                  <a:lnTo>
                    <a:pt x="346" y="250"/>
                  </a:lnTo>
                  <a:lnTo>
                    <a:pt x="346" y="260"/>
                  </a:lnTo>
                  <a:lnTo>
                    <a:pt x="346" y="268"/>
                  </a:lnTo>
                  <a:lnTo>
                    <a:pt x="345" y="278"/>
                  </a:lnTo>
                  <a:lnTo>
                    <a:pt x="343" y="286"/>
                  </a:lnTo>
                  <a:lnTo>
                    <a:pt x="340" y="294"/>
                  </a:lnTo>
                  <a:lnTo>
                    <a:pt x="335" y="302"/>
                  </a:lnTo>
                  <a:lnTo>
                    <a:pt x="331" y="310"/>
                  </a:lnTo>
                  <a:lnTo>
                    <a:pt x="326" y="316"/>
                  </a:lnTo>
                  <a:lnTo>
                    <a:pt x="320" y="323"/>
                  </a:lnTo>
                  <a:lnTo>
                    <a:pt x="314" y="328"/>
                  </a:lnTo>
                  <a:lnTo>
                    <a:pt x="306" y="334"/>
                  </a:lnTo>
                  <a:lnTo>
                    <a:pt x="299" y="338"/>
                  </a:lnTo>
                  <a:lnTo>
                    <a:pt x="291" y="342"/>
                  </a:lnTo>
                  <a:lnTo>
                    <a:pt x="283" y="345"/>
                  </a:lnTo>
                  <a:lnTo>
                    <a:pt x="274" y="347"/>
                  </a:lnTo>
                  <a:lnTo>
                    <a:pt x="265" y="348"/>
                  </a:lnTo>
                  <a:lnTo>
                    <a:pt x="256" y="350"/>
                  </a:lnTo>
                  <a:close/>
                  <a:moveTo>
                    <a:pt x="504" y="320"/>
                  </a:moveTo>
                  <a:lnTo>
                    <a:pt x="456" y="292"/>
                  </a:lnTo>
                  <a:lnTo>
                    <a:pt x="458" y="276"/>
                  </a:lnTo>
                  <a:lnTo>
                    <a:pt x="459" y="259"/>
                  </a:lnTo>
                  <a:lnTo>
                    <a:pt x="458" y="241"/>
                  </a:lnTo>
                  <a:lnTo>
                    <a:pt x="456" y="225"/>
                  </a:lnTo>
                  <a:lnTo>
                    <a:pt x="504" y="198"/>
                  </a:lnTo>
                  <a:lnTo>
                    <a:pt x="506" y="197"/>
                  </a:lnTo>
                  <a:lnTo>
                    <a:pt x="509" y="194"/>
                  </a:lnTo>
                  <a:lnTo>
                    <a:pt x="510" y="191"/>
                  </a:lnTo>
                  <a:lnTo>
                    <a:pt x="511" y="189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1" y="181"/>
                  </a:lnTo>
                  <a:lnTo>
                    <a:pt x="510" y="178"/>
                  </a:lnTo>
                  <a:lnTo>
                    <a:pt x="453" y="80"/>
                  </a:lnTo>
                  <a:lnTo>
                    <a:pt x="449" y="76"/>
                  </a:lnTo>
                  <a:lnTo>
                    <a:pt x="443" y="72"/>
                  </a:lnTo>
                  <a:lnTo>
                    <a:pt x="438" y="72"/>
                  </a:lnTo>
                  <a:lnTo>
                    <a:pt x="433" y="74"/>
                  </a:lnTo>
                  <a:lnTo>
                    <a:pt x="387" y="102"/>
                  </a:lnTo>
                  <a:lnTo>
                    <a:pt x="376" y="94"/>
                  </a:lnTo>
                  <a:lnTo>
                    <a:pt x="363" y="85"/>
                  </a:lnTo>
                  <a:lnTo>
                    <a:pt x="348" y="78"/>
                  </a:lnTo>
                  <a:lnTo>
                    <a:pt x="332" y="69"/>
                  </a:lnTo>
                  <a:lnTo>
                    <a:pt x="332" y="14"/>
                  </a:lnTo>
                  <a:lnTo>
                    <a:pt x="332" y="10"/>
                  </a:lnTo>
                  <a:lnTo>
                    <a:pt x="331" y="8"/>
                  </a:lnTo>
                  <a:lnTo>
                    <a:pt x="330" y="5"/>
                  </a:lnTo>
                  <a:lnTo>
                    <a:pt x="328" y="3"/>
                  </a:lnTo>
                  <a:lnTo>
                    <a:pt x="326" y="2"/>
                  </a:lnTo>
                  <a:lnTo>
                    <a:pt x="322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8" y="1"/>
                  </a:lnTo>
                  <a:lnTo>
                    <a:pt x="195" y="2"/>
                  </a:lnTo>
                  <a:lnTo>
                    <a:pt x="193" y="3"/>
                  </a:lnTo>
                  <a:lnTo>
                    <a:pt x="192" y="5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89" y="14"/>
                  </a:lnTo>
                  <a:lnTo>
                    <a:pt x="189" y="68"/>
                  </a:lnTo>
                  <a:lnTo>
                    <a:pt x="179" y="71"/>
                  </a:lnTo>
                  <a:lnTo>
                    <a:pt x="169" y="75"/>
                  </a:lnTo>
                  <a:lnTo>
                    <a:pt x="162" y="78"/>
                  </a:lnTo>
                  <a:lnTo>
                    <a:pt x="154" y="82"/>
                  </a:lnTo>
                  <a:lnTo>
                    <a:pt x="141" y="92"/>
                  </a:lnTo>
                  <a:lnTo>
                    <a:pt x="129" y="102"/>
                  </a:lnTo>
                  <a:lnTo>
                    <a:pt x="81" y="74"/>
                  </a:lnTo>
                  <a:lnTo>
                    <a:pt x="75" y="72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2" y="78"/>
                  </a:lnTo>
                  <a:lnTo>
                    <a:pt x="60" y="80"/>
                  </a:lnTo>
                  <a:lnTo>
                    <a:pt x="3" y="177"/>
                  </a:lnTo>
                  <a:lnTo>
                    <a:pt x="1" y="184"/>
                  </a:lnTo>
                  <a:lnTo>
                    <a:pt x="1" y="189"/>
                  </a:lnTo>
                  <a:lnTo>
                    <a:pt x="3" y="192"/>
                  </a:lnTo>
                  <a:lnTo>
                    <a:pt x="4" y="194"/>
                  </a:lnTo>
                  <a:lnTo>
                    <a:pt x="6" y="197"/>
                  </a:lnTo>
                  <a:lnTo>
                    <a:pt x="9" y="198"/>
                  </a:lnTo>
                  <a:lnTo>
                    <a:pt x="56" y="225"/>
                  </a:lnTo>
                  <a:lnTo>
                    <a:pt x="54" y="241"/>
                  </a:lnTo>
                  <a:lnTo>
                    <a:pt x="53" y="259"/>
                  </a:lnTo>
                  <a:lnTo>
                    <a:pt x="53" y="276"/>
                  </a:lnTo>
                  <a:lnTo>
                    <a:pt x="55" y="292"/>
                  </a:lnTo>
                  <a:lnTo>
                    <a:pt x="8" y="320"/>
                  </a:lnTo>
                  <a:lnTo>
                    <a:pt x="4" y="324"/>
                  </a:lnTo>
                  <a:lnTo>
                    <a:pt x="1" y="328"/>
                  </a:lnTo>
                  <a:lnTo>
                    <a:pt x="0" y="331"/>
                  </a:lnTo>
                  <a:lnTo>
                    <a:pt x="0" y="335"/>
                  </a:lnTo>
                  <a:lnTo>
                    <a:pt x="1" y="338"/>
                  </a:lnTo>
                  <a:lnTo>
                    <a:pt x="3" y="340"/>
                  </a:lnTo>
                  <a:lnTo>
                    <a:pt x="59" y="437"/>
                  </a:lnTo>
                  <a:lnTo>
                    <a:pt x="60" y="439"/>
                  </a:lnTo>
                  <a:lnTo>
                    <a:pt x="62" y="442"/>
                  </a:lnTo>
                  <a:lnTo>
                    <a:pt x="66" y="444"/>
                  </a:lnTo>
                  <a:lnTo>
                    <a:pt x="68" y="445"/>
                  </a:lnTo>
                  <a:lnTo>
                    <a:pt x="71" y="446"/>
                  </a:lnTo>
                  <a:lnTo>
                    <a:pt x="73" y="445"/>
                  </a:lnTo>
                  <a:lnTo>
                    <a:pt x="76" y="445"/>
                  </a:lnTo>
                  <a:lnTo>
                    <a:pt x="80" y="444"/>
                  </a:lnTo>
                  <a:lnTo>
                    <a:pt x="129" y="416"/>
                  </a:lnTo>
                  <a:lnTo>
                    <a:pt x="141" y="427"/>
                  </a:lnTo>
                  <a:lnTo>
                    <a:pt x="154" y="435"/>
                  </a:lnTo>
                  <a:lnTo>
                    <a:pt x="162" y="439"/>
                  </a:lnTo>
                  <a:lnTo>
                    <a:pt x="169" y="444"/>
                  </a:lnTo>
                  <a:lnTo>
                    <a:pt x="179" y="447"/>
                  </a:lnTo>
                  <a:lnTo>
                    <a:pt x="189" y="451"/>
                  </a:lnTo>
                  <a:lnTo>
                    <a:pt x="189" y="491"/>
                  </a:lnTo>
                  <a:lnTo>
                    <a:pt x="190" y="494"/>
                  </a:lnTo>
                  <a:lnTo>
                    <a:pt x="190" y="497"/>
                  </a:lnTo>
                  <a:lnTo>
                    <a:pt x="192" y="499"/>
                  </a:lnTo>
                  <a:lnTo>
                    <a:pt x="193" y="501"/>
                  </a:lnTo>
                  <a:lnTo>
                    <a:pt x="195" y="504"/>
                  </a:lnTo>
                  <a:lnTo>
                    <a:pt x="198" y="505"/>
                  </a:lnTo>
                  <a:lnTo>
                    <a:pt x="200" y="506"/>
                  </a:lnTo>
                  <a:lnTo>
                    <a:pt x="204" y="506"/>
                  </a:lnTo>
                  <a:lnTo>
                    <a:pt x="317" y="506"/>
                  </a:lnTo>
                  <a:lnTo>
                    <a:pt x="320" y="506"/>
                  </a:lnTo>
                  <a:lnTo>
                    <a:pt x="322" y="505"/>
                  </a:lnTo>
                  <a:lnTo>
                    <a:pt x="326" y="504"/>
                  </a:lnTo>
                  <a:lnTo>
                    <a:pt x="328" y="501"/>
                  </a:lnTo>
                  <a:lnTo>
                    <a:pt x="330" y="499"/>
                  </a:lnTo>
                  <a:lnTo>
                    <a:pt x="331" y="497"/>
                  </a:lnTo>
                  <a:lnTo>
                    <a:pt x="332" y="494"/>
                  </a:lnTo>
                  <a:lnTo>
                    <a:pt x="332" y="491"/>
                  </a:lnTo>
                  <a:lnTo>
                    <a:pt x="332" y="448"/>
                  </a:lnTo>
                  <a:lnTo>
                    <a:pt x="348" y="439"/>
                  </a:lnTo>
                  <a:lnTo>
                    <a:pt x="363" y="432"/>
                  </a:lnTo>
                  <a:lnTo>
                    <a:pt x="376" y="424"/>
                  </a:lnTo>
                  <a:lnTo>
                    <a:pt x="387" y="416"/>
                  </a:lnTo>
                  <a:lnTo>
                    <a:pt x="433" y="444"/>
                  </a:lnTo>
                  <a:lnTo>
                    <a:pt x="435" y="445"/>
                  </a:lnTo>
                  <a:lnTo>
                    <a:pt x="438" y="445"/>
                  </a:lnTo>
                  <a:lnTo>
                    <a:pt x="441" y="446"/>
                  </a:lnTo>
                  <a:lnTo>
                    <a:pt x="443" y="445"/>
                  </a:lnTo>
                  <a:lnTo>
                    <a:pt x="447" y="444"/>
                  </a:lnTo>
                  <a:lnTo>
                    <a:pt x="449" y="443"/>
                  </a:lnTo>
                  <a:lnTo>
                    <a:pt x="451" y="440"/>
                  </a:lnTo>
                  <a:lnTo>
                    <a:pt x="453" y="437"/>
                  </a:lnTo>
                  <a:lnTo>
                    <a:pt x="510" y="340"/>
                  </a:lnTo>
                  <a:lnTo>
                    <a:pt x="511" y="338"/>
                  </a:lnTo>
                  <a:lnTo>
                    <a:pt x="512" y="335"/>
                  </a:lnTo>
                  <a:lnTo>
                    <a:pt x="512" y="331"/>
                  </a:lnTo>
                  <a:lnTo>
                    <a:pt x="511" y="328"/>
                  </a:lnTo>
                  <a:lnTo>
                    <a:pt x="510" y="326"/>
                  </a:lnTo>
                  <a:lnTo>
                    <a:pt x="509" y="323"/>
                  </a:lnTo>
                  <a:lnTo>
                    <a:pt x="506" y="321"/>
                  </a:lnTo>
                  <a:lnTo>
                    <a:pt x="504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358">
              <a:extLst>
                <a:ext uri="{FF2B5EF4-FFF2-40B4-BE49-F238E27FC236}">
                  <a16:creationId xmlns:a16="http://schemas.microsoft.com/office/drawing/2014/main" id="{51F64262-4CAE-411C-BA9D-7B6EC82557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8500" y="1509713"/>
              <a:ext cx="161925" cy="161925"/>
            </a:xfrm>
            <a:custGeom>
              <a:avLst/>
              <a:gdLst>
                <a:gd name="T0" fmla="*/ 229 w 511"/>
                <a:gd name="T1" fmla="*/ 335 h 509"/>
                <a:gd name="T2" fmla="*/ 198 w 511"/>
                <a:gd name="T3" fmla="*/ 319 h 509"/>
                <a:gd name="T4" fmla="*/ 176 w 511"/>
                <a:gd name="T5" fmla="*/ 292 h 509"/>
                <a:gd name="T6" fmla="*/ 166 w 511"/>
                <a:gd name="T7" fmla="*/ 258 h 509"/>
                <a:gd name="T8" fmla="*/ 169 w 511"/>
                <a:gd name="T9" fmla="*/ 223 h 509"/>
                <a:gd name="T10" fmla="*/ 186 w 511"/>
                <a:gd name="T11" fmla="*/ 191 h 509"/>
                <a:gd name="T12" fmla="*/ 213 w 511"/>
                <a:gd name="T13" fmla="*/ 169 h 509"/>
                <a:gd name="T14" fmla="*/ 246 w 511"/>
                <a:gd name="T15" fmla="*/ 158 h 509"/>
                <a:gd name="T16" fmla="*/ 282 w 511"/>
                <a:gd name="T17" fmla="*/ 163 h 509"/>
                <a:gd name="T18" fmla="*/ 313 w 511"/>
                <a:gd name="T19" fmla="*/ 179 h 509"/>
                <a:gd name="T20" fmla="*/ 335 w 511"/>
                <a:gd name="T21" fmla="*/ 206 h 509"/>
                <a:gd name="T22" fmla="*/ 346 w 511"/>
                <a:gd name="T23" fmla="*/ 240 h 509"/>
                <a:gd name="T24" fmla="*/ 342 w 511"/>
                <a:gd name="T25" fmla="*/ 276 h 509"/>
                <a:gd name="T26" fmla="*/ 325 w 511"/>
                <a:gd name="T27" fmla="*/ 306 h 509"/>
                <a:gd name="T28" fmla="*/ 298 w 511"/>
                <a:gd name="T29" fmla="*/ 328 h 509"/>
                <a:gd name="T30" fmla="*/ 265 w 511"/>
                <a:gd name="T31" fmla="*/ 338 h 509"/>
                <a:gd name="T32" fmla="*/ 511 w 511"/>
                <a:gd name="T33" fmla="*/ 173 h 509"/>
                <a:gd name="T34" fmla="*/ 450 w 511"/>
                <a:gd name="T35" fmla="*/ 67 h 509"/>
                <a:gd name="T36" fmla="*/ 441 w 511"/>
                <a:gd name="T37" fmla="*/ 63 h 509"/>
                <a:gd name="T38" fmla="*/ 386 w 511"/>
                <a:gd name="T39" fmla="*/ 92 h 509"/>
                <a:gd name="T40" fmla="*/ 332 w 511"/>
                <a:gd name="T41" fmla="*/ 59 h 509"/>
                <a:gd name="T42" fmla="*/ 329 w 511"/>
                <a:gd name="T43" fmla="*/ 6 h 509"/>
                <a:gd name="T44" fmla="*/ 320 w 511"/>
                <a:gd name="T45" fmla="*/ 0 h 509"/>
                <a:gd name="T46" fmla="*/ 198 w 511"/>
                <a:gd name="T47" fmla="*/ 1 h 509"/>
                <a:gd name="T48" fmla="*/ 190 w 511"/>
                <a:gd name="T49" fmla="*/ 9 h 509"/>
                <a:gd name="T50" fmla="*/ 179 w 511"/>
                <a:gd name="T51" fmla="*/ 61 h 509"/>
                <a:gd name="T52" fmla="*/ 141 w 511"/>
                <a:gd name="T53" fmla="*/ 81 h 509"/>
                <a:gd name="T54" fmla="*/ 68 w 511"/>
                <a:gd name="T55" fmla="*/ 63 h 509"/>
                <a:gd name="T56" fmla="*/ 60 w 511"/>
                <a:gd name="T57" fmla="*/ 70 h 509"/>
                <a:gd name="T58" fmla="*/ 1 w 511"/>
                <a:gd name="T59" fmla="*/ 177 h 509"/>
                <a:gd name="T60" fmla="*/ 5 w 511"/>
                <a:gd name="T61" fmla="*/ 186 h 509"/>
                <a:gd name="T62" fmla="*/ 52 w 511"/>
                <a:gd name="T63" fmla="*/ 249 h 509"/>
                <a:gd name="T64" fmla="*/ 5 w 511"/>
                <a:gd name="T65" fmla="*/ 311 h 509"/>
                <a:gd name="T66" fmla="*/ 0 w 511"/>
                <a:gd name="T67" fmla="*/ 322 h 509"/>
                <a:gd name="T68" fmla="*/ 59 w 511"/>
                <a:gd name="T69" fmla="*/ 429 h 509"/>
                <a:gd name="T70" fmla="*/ 74 w 511"/>
                <a:gd name="T71" fmla="*/ 435 h 509"/>
                <a:gd name="T72" fmla="*/ 140 w 511"/>
                <a:gd name="T73" fmla="*/ 416 h 509"/>
                <a:gd name="T74" fmla="*/ 179 w 511"/>
                <a:gd name="T75" fmla="*/ 438 h 509"/>
                <a:gd name="T76" fmla="*/ 190 w 511"/>
                <a:gd name="T77" fmla="*/ 500 h 509"/>
                <a:gd name="T78" fmla="*/ 198 w 511"/>
                <a:gd name="T79" fmla="*/ 508 h 509"/>
                <a:gd name="T80" fmla="*/ 320 w 511"/>
                <a:gd name="T81" fmla="*/ 509 h 509"/>
                <a:gd name="T82" fmla="*/ 329 w 511"/>
                <a:gd name="T83" fmla="*/ 503 h 509"/>
                <a:gd name="T84" fmla="*/ 332 w 511"/>
                <a:gd name="T85" fmla="*/ 439 h 509"/>
                <a:gd name="T86" fmla="*/ 387 w 511"/>
                <a:gd name="T87" fmla="*/ 407 h 509"/>
                <a:gd name="T88" fmla="*/ 441 w 511"/>
                <a:gd name="T89" fmla="*/ 435 h 509"/>
                <a:gd name="T90" fmla="*/ 450 w 511"/>
                <a:gd name="T91" fmla="*/ 431 h 509"/>
                <a:gd name="T92" fmla="*/ 511 w 511"/>
                <a:gd name="T93" fmla="*/ 324 h 509"/>
                <a:gd name="T94" fmla="*/ 504 w 511"/>
                <a:gd name="T95" fmla="*/ 309 h 509"/>
                <a:gd name="T96" fmla="*/ 459 w 511"/>
                <a:gd name="T97" fmla="*/ 233 h 509"/>
                <a:gd name="T98" fmla="*/ 508 w 511"/>
                <a:gd name="T99" fmla="*/ 184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1" h="509">
                  <a:moveTo>
                    <a:pt x="256" y="339"/>
                  </a:moveTo>
                  <a:lnTo>
                    <a:pt x="246" y="338"/>
                  </a:lnTo>
                  <a:lnTo>
                    <a:pt x="237" y="337"/>
                  </a:lnTo>
                  <a:lnTo>
                    <a:pt x="229" y="335"/>
                  </a:lnTo>
                  <a:lnTo>
                    <a:pt x="220" y="332"/>
                  </a:lnTo>
                  <a:lnTo>
                    <a:pt x="213" y="328"/>
                  </a:lnTo>
                  <a:lnTo>
                    <a:pt x="205" y="323"/>
                  </a:lnTo>
                  <a:lnTo>
                    <a:pt x="198" y="319"/>
                  </a:lnTo>
                  <a:lnTo>
                    <a:pt x="191" y="312"/>
                  </a:lnTo>
                  <a:lnTo>
                    <a:pt x="186" y="306"/>
                  </a:lnTo>
                  <a:lnTo>
                    <a:pt x="181" y="300"/>
                  </a:lnTo>
                  <a:lnTo>
                    <a:pt x="176" y="292"/>
                  </a:lnTo>
                  <a:lnTo>
                    <a:pt x="172" y="284"/>
                  </a:lnTo>
                  <a:lnTo>
                    <a:pt x="169" y="276"/>
                  </a:lnTo>
                  <a:lnTo>
                    <a:pt x="167" y="267"/>
                  </a:lnTo>
                  <a:lnTo>
                    <a:pt x="166" y="258"/>
                  </a:lnTo>
                  <a:lnTo>
                    <a:pt x="166" y="249"/>
                  </a:lnTo>
                  <a:lnTo>
                    <a:pt x="166" y="240"/>
                  </a:lnTo>
                  <a:lnTo>
                    <a:pt x="167" y="231"/>
                  </a:lnTo>
                  <a:lnTo>
                    <a:pt x="169" y="223"/>
                  </a:lnTo>
                  <a:lnTo>
                    <a:pt x="172" y="214"/>
                  </a:lnTo>
                  <a:lnTo>
                    <a:pt x="176" y="206"/>
                  </a:lnTo>
                  <a:lnTo>
                    <a:pt x="181" y="199"/>
                  </a:lnTo>
                  <a:lnTo>
                    <a:pt x="186" y="191"/>
                  </a:lnTo>
                  <a:lnTo>
                    <a:pt x="191" y="185"/>
                  </a:lnTo>
                  <a:lnTo>
                    <a:pt x="198" y="179"/>
                  </a:lnTo>
                  <a:lnTo>
                    <a:pt x="205" y="173"/>
                  </a:lnTo>
                  <a:lnTo>
                    <a:pt x="213" y="169"/>
                  </a:lnTo>
                  <a:lnTo>
                    <a:pt x="220" y="165"/>
                  </a:lnTo>
                  <a:lnTo>
                    <a:pt x="229" y="163"/>
                  </a:lnTo>
                  <a:lnTo>
                    <a:pt x="237" y="159"/>
                  </a:lnTo>
                  <a:lnTo>
                    <a:pt x="246" y="158"/>
                  </a:lnTo>
                  <a:lnTo>
                    <a:pt x="256" y="158"/>
                  </a:lnTo>
                  <a:lnTo>
                    <a:pt x="265" y="158"/>
                  </a:lnTo>
                  <a:lnTo>
                    <a:pt x="274" y="159"/>
                  </a:lnTo>
                  <a:lnTo>
                    <a:pt x="282" y="163"/>
                  </a:lnTo>
                  <a:lnTo>
                    <a:pt x="291" y="165"/>
                  </a:lnTo>
                  <a:lnTo>
                    <a:pt x="298" y="169"/>
                  </a:lnTo>
                  <a:lnTo>
                    <a:pt x="306" y="173"/>
                  </a:lnTo>
                  <a:lnTo>
                    <a:pt x="313" y="179"/>
                  </a:lnTo>
                  <a:lnTo>
                    <a:pt x="320" y="185"/>
                  </a:lnTo>
                  <a:lnTo>
                    <a:pt x="325" y="191"/>
                  </a:lnTo>
                  <a:lnTo>
                    <a:pt x="331" y="199"/>
                  </a:lnTo>
                  <a:lnTo>
                    <a:pt x="335" y="206"/>
                  </a:lnTo>
                  <a:lnTo>
                    <a:pt x="339" y="214"/>
                  </a:lnTo>
                  <a:lnTo>
                    <a:pt x="342" y="223"/>
                  </a:lnTo>
                  <a:lnTo>
                    <a:pt x="344" y="231"/>
                  </a:lnTo>
                  <a:lnTo>
                    <a:pt x="346" y="240"/>
                  </a:lnTo>
                  <a:lnTo>
                    <a:pt x="347" y="249"/>
                  </a:lnTo>
                  <a:lnTo>
                    <a:pt x="346" y="258"/>
                  </a:lnTo>
                  <a:lnTo>
                    <a:pt x="344" y="267"/>
                  </a:lnTo>
                  <a:lnTo>
                    <a:pt x="342" y="276"/>
                  </a:lnTo>
                  <a:lnTo>
                    <a:pt x="339" y="284"/>
                  </a:lnTo>
                  <a:lnTo>
                    <a:pt x="335" y="292"/>
                  </a:lnTo>
                  <a:lnTo>
                    <a:pt x="331" y="300"/>
                  </a:lnTo>
                  <a:lnTo>
                    <a:pt x="325" y="306"/>
                  </a:lnTo>
                  <a:lnTo>
                    <a:pt x="320" y="312"/>
                  </a:lnTo>
                  <a:lnTo>
                    <a:pt x="313" y="319"/>
                  </a:lnTo>
                  <a:lnTo>
                    <a:pt x="306" y="323"/>
                  </a:lnTo>
                  <a:lnTo>
                    <a:pt x="298" y="328"/>
                  </a:lnTo>
                  <a:lnTo>
                    <a:pt x="291" y="332"/>
                  </a:lnTo>
                  <a:lnTo>
                    <a:pt x="282" y="335"/>
                  </a:lnTo>
                  <a:lnTo>
                    <a:pt x="274" y="337"/>
                  </a:lnTo>
                  <a:lnTo>
                    <a:pt x="265" y="338"/>
                  </a:lnTo>
                  <a:lnTo>
                    <a:pt x="256" y="339"/>
                  </a:lnTo>
                  <a:close/>
                  <a:moveTo>
                    <a:pt x="510" y="179"/>
                  </a:moveTo>
                  <a:lnTo>
                    <a:pt x="511" y="177"/>
                  </a:lnTo>
                  <a:lnTo>
                    <a:pt x="511" y="173"/>
                  </a:lnTo>
                  <a:lnTo>
                    <a:pt x="510" y="171"/>
                  </a:lnTo>
                  <a:lnTo>
                    <a:pt x="509" y="168"/>
                  </a:lnTo>
                  <a:lnTo>
                    <a:pt x="453" y="70"/>
                  </a:lnTo>
                  <a:lnTo>
                    <a:pt x="450" y="67"/>
                  </a:lnTo>
                  <a:lnTo>
                    <a:pt x="448" y="65"/>
                  </a:lnTo>
                  <a:lnTo>
                    <a:pt x="446" y="64"/>
                  </a:lnTo>
                  <a:lnTo>
                    <a:pt x="443" y="64"/>
                  </a:lnTo>
                  <a:lnTo>
                    <a:pt x="441" y="63"/>
                  </a:lnTo>
                  <a:lnTo>
                    <a:pt x="438" y="63"/>
                  </a:lnTo>
                  <a:lnTo>
                    <a:pt x="434" y="63"/>
                  </a:lnTo>
                  <a:lnTo>
                    <a:pt x="432" y="65"/>
                  </a:lnTo>
                  <a:lnTo>
                    <a:pt x="386" y="92"/>
                  </a:lnTo>
                  <a:lnTo>
                    <a:pt x="375" y="83"/>
                  </a:lnTo>
                  <a:lnTo>
                    <a:pt x="363" y="75"/>
                  </a:lnTo>
                  <a:lnTo>
                    <a:pt x="348" y="67"/>
                  </a:lnTo>
                  <a:lnTo>
                    <a:pt x="332" y="59"/>
                  </a:lnTo>
                  <a:lnTo>
                    <a:pt x="332" y="14"/>
                  </a:lnTo>
                  <a:lnTo>
                    <a:pt x="332" y="12"/>
                  </a:lnTo>
                  <a:lnTo>
                    <a:pt x="331" y="9"/>
                  </a:lnTo>
                  <a:lnTo>
                    <a:pt x="329" y="6"/>
                  </a:lnTo>
                  <a:lnTo>
                    <a:pt x="327" y="4"/>
                  </a:lnTo>
                  <a:lnTo>
                    <a:pt x="325" y="2"/>
                  </a:lnTo>
                  <a:lnTo>
                    <a:pt x="323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4" y="4"/>
                  </a:lnTo>
                  <a:lnTo>
                    <a:pt x="191" y="6"/>
                  </a:lnTo>
                  <a:lnTo>
                    <a:pt x="190" y="9"/>
                  </a:lnTo>
                  <a:lnTo>
                    <a:pt x="189" y="12"/>
                  </a:lnTo>
                  <a:lnTo>
                    <a:pt x="188" y="14"/>
                  </a:lnTo>
                  <a:lnTo>
                    <a:pt x="188" y="58"/>
                  </a:lnTo>
                  <a:lnTo>
                    <a:pt x="179" y="61"/>
                  </a:lnTo>
                  <a:lnTo>
                    <a:pt x="170" y="64"/>
                  </a:lnTo>
                  <a:lnTo>
                    <a:pt x="161" y="68"/>
                  </a:lnTo>
                  <a:lnTo>
                    <a:pt x="154" y="72"/>
                  </a:lnTo>
                  <a:lnTo>
                    <a:pt x="141" y="81"/>
                  </a:lnTo>
                  <a:lnTo>
                    <a:pt x="128" y="92"/>
                  </a:lnTo>
                  <a:lnTo>
                    <a:pt x="80" y="64"/>
                  </a:lnTo>
                  <a:lnTo>
                    <a:pt x="75" y="62"/>
                  </a:lnTo>
                  <a:lnTo>
                    <a:pt x="68" y="63"/>
                  </a:lnTo>
                  <a:lnTo>
                    <a:pt x="66" y="64"/>
                  </a:lnTo>
                  <a:lnTo>
                    <a:pt x="64" y="65"/>
                  </a:lnTo>
                  <a:lnTo>
                    <a:pt x="62" y="67"/>
                  </a:lnTo>
                  <a:lnTo>
                    <a:pt x="60" y="70"/>
                  </a:lnTo>
                  <a:lnTo>
                    <a:pt x="3" y="168"/>
                  </a:lnTo>
                  <a:lnTo>
                    <a:pt x="2" y="171"/>
                  </a:lnTo>
                  <a:lnTo>
                    <a:pt x="1" y="173"/>
                  </a:lnTo>
                  <a:lnTo>
                    <a:pt x="1" y="177"/>
                  </a:lnTo>
                  <a:lnTo>
                    <a:pt x="1" y="179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5" y="186"/>
                  </a:lnTo>
                  <a:lnTo>
                    <a:pt x="8" y="188"/>
                  </a:lnTo>
                  <a:lnTo>
                    <a:pt x="56" y="216"/>
                  </a:lnTo>
                  <a:lnTo>
                    <a:pt x="53" y="233"/>
                  </a:lnTo>
                  <a:lnTo>
                    <a:pt x="52" y="249"/>
                  </a:lnTo>
                  <a:lnTo>
                    <a:pt x="53" y="265"/>
                  </a:lnTo>
                  <a:lnTo>
                    <a:pt x="56" y="282"/>
                  </a:lnTo>
                  <a:lnTo>
                    <a:pt x="7" y="309"/>
                  </a:lnTo>
                  <a:lnTo>
                    <a:pt x="5" y="311"/>
                  </a:lnTo>
                  <a:lnTo>
                    <a:pt x="3" y="313"/>
                  </a:lnTo>
                  <a:lnTo>
                    <a:pt x="2" y="317"/>
                  </a:lnTo>
                  <a:lnTo>
                    <a:pt x="1" y="320"/>
                  </a:lnTo>
                  <a:lnTo>
                    <a:pt x="0" y="322"/>
                  </a:lnTo>
                  <a:lnTo>
                    <a:pt x="0" y="324"/>
                  </a:lnTo>
                  <a:lnTo>
                    <a:pt x="1" y="327"/>
                  </a:lnTo>
                  <a:lnTo>
                    <a:pt x="2" y="330"/>
                  </a:lnTo>
                  <a:lnTo>
                    <a:pt x="59" y="429"/>
                  </a:lnTo>
                  <a:lnTo>
                    <a:pt x="63" y="432"/>
                  </a:lnTo>
                  <a:lnTo>
                    <a:pt x="67" y="434"/>
                  </a:lnTo>
                  <a:lnTo>
                    <a:pt x="71" y="435"/>
                  </a:lnTo>
                  <a:lnTo>
                    <a:pt x="74" y="435"/>
                  </a:lnTo>
                  <a:lnTo>
                    <a:pt x="76" y="434"/>
                  </a:lnTo>
                  <a:lnTo>
                    <a:pt x="79" y="433"/>
                  </a:lnTo>
                  <a:lnTo>
                    <a:pt x="128" y="407"/>
                  </a:lnTo>
                  <a:lnTo>
                    <a:pt x="140" y="416"/>
                  </a:lnTo>
                  <a:lnTo>
                    <a:pt x="154" y="426"/>
                  </a:lnTo>
                  <a:lnTo>
                    <a:pt x="161" y="430"/>
                  </a:lnTo>
                  <a:lnTo>
                    <a:pt x="169" y="434"/>
                  </a:lnTo>
                  <a:lnTo>
                    <a:pt x="179" y="438"/>
                  </a:lnTo>
                  <a:lnTo>
                    <a:pt x="188" y="441"/>
                  </a:lnTo>
                  <a:lnTo>
                    <a:pt x="188" y="494"/>
                  </a:lnTo>
                  <a:lnTo>
                    <a:pt x="189" y="497"/>
                  </a:lnTo>
                  <a:lnTo>
                    <a:pt x="190" y="500"/>
                  </a:lnTo>
                  <a:lnTo>
                    <a:pt x="191" y="503"/>
                  </a:lnTo>
                  <a:lnTo>
                    <a:pt x="194" y="505"/>
                  </a:lnTo>
                  <a:lnTo>
                    <a:pt x="196" y="507"/>
                  </a:lnTo>
                  <a:lnTo>
                    <a:pt x="198" y="508"/>
                  </a:lnTo>
                  <a:lnTo>
                    <a:pt x="201" y="509"/>
                  </a:lnTo>
                  <a:lnTo>
                    <a:pt x="203" y="509"/>
                  </a:lnTo>
                  <a:lnTo>
                    <a:pt x="317" y="509"/>
                  </a:lnTo>
                  <a:lnTo>
                    <a:pt x="320" y="509"/>
                  </a:lnTo>
                  <a:lnTo>
                    <a:pt x="323" y="508"/>
                  </a:lnTo>
                  <a:lnTo>
                    <a:pt x="325" y="507"/>
                  </a:lnTo>
                  <a:lnTo>
                    <a:pt x="327" y="505"/>
                  </a:lnTo>
                  <a:lnTo>
                    <a:pt x="329" y="503"/>
                  </a:lnTo>
                  <a:lnTo>
                    <a:pt x="331" y="500"/>
                  </a:lnTo>
                  <a:lnTo>
                    <a:pt x="332" y="497"/>
                  </a:lnTo>
                  <a:lnTo>
                    <a:pt x="332" y="494"/>
                  </a:lnTo>
                  <a:lnTo>
                    <a:pt x="332" y="439"/>
                  </a:lnTo>
                  <a:lnTo>
                    <a:pt x="348" y="431"/>
                  </a:lnTo>
                  <a:lnTo>
                    <a:pt x="363" y="423"/>
                  </a:lnTo>
                  <a:lnTo>
                    <a:pt x="375" y="414"/>
                  </a:lnTo>
                  <a:lnTo>
                    <a:pt x="387" y="407"/>
                  </a:lnTo>
                  <a:lnTo>
                    <a:pt x="432" y="433"/>
                  </a:lnTo>
                  <a:lnTo>
                    <a:pt x="434" y="434"/>
                  </a:lnTo>
                  <a:lnTo>
                    <a:pt x="438" y="435"/>
                  </a:lnTo>
                  <a:lnTo>
                    <a:pt x="441" y="435"/>
                  </a:lnTo>
                  <a:lnTo>
                    <a:pt x="443" y="434"/>
                  </a:lnTo>
                  <a:lnTo>
                    <a:pt x="446" y="434"/>
                  </a:lnTo>
                  <a:lnTo>
                    <a:pt x="448" y="432"/>
                  </a:lnTo>
                  <a:lnTo>
                    <a:pt x="450" y="431"/>
                  </a:lnTo>
                  <a:lnTo>
                    <a:pt x="453" y="429"/>
                  </a:lnTo>
                  <a:lnTo>
                    <a:pt x="509" y="330"/>
                  </a:lnTo>
                  <a:lnTo>
                    <a:pt x="510" y="327"/>
                  </a:lnTo>
                  <a:lnTo>
                    <a:pt x="511" y="324"/>
                  </a:lnTo>
                  <a:lnTo>
                    <a:pt x="511" y="322"/>
                  </a:lnTo>
                  <a:lnTo>
                    <a:pt x="510" y="320"/>
                  </a:lnTo>
                  <a:lnTo>
                    <a:pt x="508" y="313"/>
                  </a:lnTo>
                  <a:lnTo>
                    <a:pt x="504" y="309"/>
                  </a:lnTo>
                  <a:lnTo>
                    <a:pt x="457" y="282"/>
                  </a:lnTo>
                  <a:lnTo>
                    <a:pt x="459" y="265"/>
                  </a:lnTo>
                  <a:lnTo>
                    <a:pt x="459" y="249"/>
                  </a:lnTo>
                  <a:lnTo>
                    <a:pt x="459" y="233"/>
                  </a:lnTo>
                  <a:lnTo>
                    <a:pt x="457" y="216"/>
                  </a:lnTo>
                  <a:lnTo>
                    <a:pt x="504" y="188"/>
                  </a:lnTo>
                  <a:lnTo>
                    <a:pt x="506" y="186"/>
                  </a:lnTo>
                  <a:lnTo>
                    <a:pt x="508" y="184"/>
                  </a:lnTo>
                  <a:lnTo>
                    <a:pt x="509" y="182"/>
                  </a:lnTo>
                  <a:lnTo>
                    <a:pt x="510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14DA0634-ECCE-4CF7-85D2-FEC8036445AF}"/>
              </a:ext>
            </a:extLst>
          </p:cNvPr>
          <p:cNvGrpSpPr/>
          <p:nvPr/>
        </p:nvGrpSpPr>
        <p:grpSpPr>
          <a:xfrm>
            <a:off x="5676900" y="3561872"/>
            <a:ext cx="838200" cy="651940"/>
            <a:chOff x="1474788" y="828675"/>
            <a:chExt cx="285750" cy="222251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85" name="Freeform 1682">
              <a:extLst>
                <a:ext uri="{FF2B5EF4-FFF2-40B4-BE49-F238E27FC236}">
                  <a16:creationId xmlns:a16="http://schemas.microsoft.com/office/drawing/2014/main" id="{AC2A946F-ADD8-48D4-A56D-8ED1970B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288" y="912813"/>
              <a:ext cx="222250" cy="138113"/>
            </a:xfrm>
            <a:custGeom>
              <a:avLst/>
              <a:gdLst>
                <a:gd name="T0" fmla="*/ 482 w 559"/>
                <a:gd name="T1" fmla="*/ 11 h 348"/>
                <a:gd name="T2" fmla="*/ 474 w 559"/>
                <a:gd name="T3" fmla="*/ 3 h 348"/>
                <a:gd name="T4" fmla="*/ 464 w 559"/>
                <a:gd name="T5" fmla="*/ 0 h 348"/>
                <a:gd name="T6" fmla="*/ 452 w 559"/>
                <a:gd name="T7" fmla="*/ 2 h 348"/>
                <a:gd name="T8" fmla="*/ 443 w 559"/>
                <a:gd name="T9" fmla="*/ 7 h 348"/>
                <a:gd name="T10" fmla="*/ 344 w 559"/>
                <a:gd name="T11" fmla="*/ 128 h 348"/>
                <a:gd name="T12" fmla="*/ 342 w 559"/>
                <a:gd name="T13" fmla="*/ 136 h 348"/>
                <a:gd name="T14" fmla="*/ 342 w 559"/>
                <a:gd name="T15" fmla="*/ 145 h 348"/>
                <a:gd name="T16" fmla="*/ 346 w 559"/>
                <a:gd name="T17" fmla="*/ 154 h 348"/>
                <a:gd name="T18" fmla="*/ 354 w 559"/>
                <a:gd name="T19" fmla="*/ 160 h 348"/>
                <a:gd name="T20" fmla="*/ 363 w 559"/>
                <a:gd name="T21" fmla="*/ 163 h 348"/>
                <a:gd name="T22" fmla="*/ 371 w 559"/>
                <a:gd name="T23" fmla="*/ 162 h 348"/>
                <a:gd name="T24" fmla="*/ 380 w 559"/>
                <a:gd name="T25" fmla="*/ 157 h 348"/>
                <a:gd name="T26" fmla="*/ 440 w 559"/>
                <a:gd name="T27" fmla="*/ 87 h 348"/>
                <a:gd name="T28" fmla="*/ 434 w 559"/>
                <a:gd name="T29" fmla="*/ 122 h 348"/>
                <a:gd name="T30" fmla="*/ 422 w 559"/>
                <a:gd name="T31" fmla="*/ 156 h 348"/>
                <a:gd name="T32" fmla="*/ 406 w 559"/>
                <a:gd name="T33" fmla="*/ 188 h 348"/>
                <a:gd name="T34" fmla="*/ 384 w 559"/>
                <a:gd name="T35" fmla="*/ 217 h 348"/>
                <a:gd name="T36" fmla="*/ 357 w 559"/>
                <a:gd name="T37" fmla="*/ 244 h 348"/>
                <a:gd name="T38" fmla="*/ 327 w 559"/>
                <a:gd name="T39" fmla="*/ 266 h 348"/>
                <a:gd name="T40" fmla="*/ 294 w 559"/>
                <a:gd name="T41" fmla="*/ 283 h 348"/>
                <a:gd name="T42" fmla="*/ 259 w 559"/>
                <a:gd name="T43" fmla="*/ 294 h 348"/>
                <a:gd name="T44" fmla="*/ 229 w 559"/>
                <a:gd name="T45" fmla="*/ 300 h 348"/>
                <a:gd name="T46" fmla="*/ 199 w 559"/>
                <a:gd name="T47" fmla="*/ 301 h 348"/>
                <a:gd name="T48" fmla="*/ 170 w 559"/>
                <a:gd name="T49" fmla="*/ 299 h 348"/>
                <a:gd name="T50" fmla="*/ 142 w 559"/>
                <a:gd name="T51" fmla="*/ 293 h 348"/>
                <a:gd name="T52" fmla="*/ 114 w 559"/>
                <a:gd name="T53" fmla="*/ 283 h 348"/>
                <a:gd name="T54" fmla="*/ 89 w 559"/>
                <a:gd name="T55" fmla="*/ 270 h 348"/>
                <a:gd name="T56" fmla="*/ 64 w 559"/>
                <a:gd name="T57" fmla="*/ 254 h 348"/>
                <a:gd name="T58" fmla="*/ 41 w 559"/>
                <a:gd name="T59" fmla="*/ 234 h 348"/>
                <a:gd name="T60" fmla="*/ 33 w 559"/>
                <a:gd name="T61" fmla="*/ 229 h 348"/>
                <a:gd name="T62" fmla="*/ 25 w 559"/>
                <a:gd name="T63" fmla="*/ 227 h 348"/>
                <a:gd name="T64" fmla="*/ 16 w 559"/>
                <a:gd name="T65" fmla="*/ 229 h 348"/>
                <a:gd name="T66" fmla="*/ 7 w 559"/>
                <a:gd name="T67" fmla="*/ 234 h 348"/>
                <a:gd name="T68" fmla="*/ 3 w 559"/>
                <a:gd name="T69" fmla="*/ 241 h 348"/>
                <a:gd name="T70" fmla="*/ 0 w 559"/>
                <a:gd name="T71" fmla="*/ 251 h 348"/>
                <a:gd name="T72" fmla="*/ 3 w 559"/>
                <a:gd name="T73" fmla="*/ 260 h 348"/>
                <a:gd name="T74" fmla="*/ 8 w 559"/>
                <a:gd name="T75" fmla="*/ 269 h 348"/>
                <a:gd name="T76" fmla="*/ 28 w 559"/>
                <a:gd name="T77" fmla="*/ 287 h 348"/>
                <a:gd name="T78" fmla="*/ 51 w 559"/>
                <a:gd name="T79" fmla="*/ 303 h 348"/>
                <a:gd name="T80" fmla="*/ 74 w 559"/>
                <a:gd name="T81" fmla="*/ 318 h 348"/>
                <a:gd name="T82" fmla="*/ 99 w 559"/>
                <a:gd name="T83" fmla="*/ 329 h 348"/>
                <a:gd name="T84" fmla="*/ 124 w 559"/>
                <a:gd name="T85" fmla="*/ 337 h 348"/>
                <a:gd name="T86" fmla="*/ 151 w 559"/>
                <a:gd name="T87" fmla="*/ 344 h 348"/>
                <a:gd name="T88" fmla="*/ 177 w 559"/>
                <a:gd name="T89" fmla="*/ 347 h 348"/>
                <a:gd name="T90" fmla="*/ 205 w 559"/>
                <a:gd name="T91" fmla="*/ 348 h 348"/>
                <a:gd name="T92" fmla="*/ 237 w 559"/>
                <a:gd name="T93" fmla="*/ 347 h 348"/>
                <a:gd name="T94" fmla="*/ 270 w 559"/>
                <a:gd name="T95" fmla="*/ 342 h 348"/>
                <a:gd name="T96" fmla="*/ 311 w 559"/>
                <a:gd name="T97" fmla="*/ 329 h 348"/>
                <a:gd name="T98" fmla="*/ 348 w 559"/>
                <a:gd name="T99" fmla="*/ 310 h 348"/>
                <a:gd name="T100" fmla="*/ 382 w 559"/>
                <a:gd name="T101" fmla="*/ 286 h 348"/>
                <a:gd name="T102" fmla="*/ 413 w 559"/>
                <a:gd name="T103" fmla="*/ 257 h 348"/>
                <a:gd name="T104" fmla="*/ 439 w 559"/>
                <a:gd name="T105" fmla="*/ 224 h 348"/>
                <a:gd name="T106" fmla="*/ 460 w 559"/>
                <a:gd name="T107" fmla="*/ 188 h 348"/>
                <a:gd name="T108" fmla="*/ 475 w 559"/>
                <a:gd name="T109" fmla="*/ 150 h 348"/>
                <a:gd name="T110" fmla="*/ 485 w 559"/>
                <a:gd name="T111" fmla="*/ 110 h 348"/>
                <a:gd name="T112" fmla="*/ 518 w 559"/>
                <a:gd name="T113" fmla="*/ 163 h 348"/>
                <a:gd name="T114" fmla="*/ 529 w 559"/>
                <a:gd name="T115" fmla="*/ 168 h 348"/>
                <a:gd name="T116" fmla="*/ 541 w 559"/>
                <a:gd name="T117" fmla="*/ 168 h 348"/>
                <a:gd name="T118" fmla="*/ 551 w 559"/>
                <a:gd name="T119" fmla="*/ 164 h 348"/>
                <a:gd name="T120" fmla="*/ 557 w 559"/>
                <a:gd name="T121" fmla="*/ 156 h 348"/>
                <a:gd name="T122" fmla="*/ 559 w 559"/>
                <a:gd name="T123" fmla="*/ 147 h 348"/>
                <a:gd name="T124" fmla="*/ 558 w 559"/>
                <a:gd name="T125" fmla="*/ 13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9" h="348">
                  <a:moveTo>
                    <a:pt x="556" y="133"/>
                  </a:moveTo>
                  <a:lnTo>
                    <a:pt x="482" y="11"/>
                  </a:lnTo>
                  <a:lnTo>
                    <a:pt x="478" y="6"/>
                  </a:lnTo>
                  <a:lnTo>
                    <a:pt x="474" y="3"/>
                  </a:lnTo>
                  <a:lnTo>
                    <a:pt x="470" y="1"/>
                  </a:lnTo>
                  <a:lnTo>
                    <a:pt x="464" y="0"/>
                  </a:lnTo>
                  <a:lnTo>
                    <a:pt x="458" y="0"/>
                  </a:lnTo>
                  <a:lnTo>
                    <a:pt x="452" y="2"/>
                  </a:lnTo>
                  <a:lnTo>
                    <a:pt x="448" y="4"/>
                  </a:lnTo>
                  <a:lnTo>
                    <a:pt x="443" y="7"/>
                  </a:lnTo>
                  <a:lnTo>
                    <a:pt x="346" y="123"/>
                  </a:lnTo>
                  <a:lnTo>
                    <a:pt x="344" y="128"/>
                  </a:lnTo>
                  <a:lnTo>
                    <a:pt x="342" y="132"/>
                  </a:lnTo>
                  <a:lnTo>
                    <a:pt x="342" y="136"/>
                  </a:lnTo>
                  <a:lnTo>
                    <a:pt x="342" y="141"/>
                  </a:lnTo>
                  <a:lnTo>
                    <a:pt x="342" y="145"/>
                  </a:lnTo>
                  <a:lnTo>
                    <a:pt x="344" y="150"/>
                  </a:lnTo>
                  <a:lnTo>
                    <a:pt x="346" y="154"/>
                  </a:lnTo>
                  <a:lnTo>
                    <a:pt x="349" y="157"/>
                  </a:lnTo>
                  <a:lnTo>
                    <a:pt x="354" y="160"/>
                  </a:lnTo>
                  <a:lnTo>
                    <a:pt x="358" y="162"/>
                  </a:lnTo>
                  <a:lnTo>
                    <a:pt x="363" y="163"/>
                  </a:lnTo>
                  <a:lnTo>
                    <a:pt x="367" y="163"/>
                  </a:lnTo>
                  <a:lnTo>
                    <a:pt x="371" y="162"/>
                  </a:lnTo>
                  <a:lnTo>
                    <a:pt x="376" y="161"/>
                  </a:lnTo>
                  <a:lnTo>
                    <a:pt x="380" y="157"/>
                  </a:lnTo>
                  <a:lnTo>
                    <a:pt x="384" y="155"/>
                  </a:lnTo>
                  <a:lnTo>
                    <a:pt x="440" y="87"/>
                  </a:lnTo>
                  <a:lnTo>
                    <a:pt x="438" y="104"/>
                  </a:lnTo>
                  <a:lnTo>
                    <a:pt x="434" y="122"/>
                  </a:lnTo>
                  <a:lnTo>
                    <a:pt x="429" y="139"/>
                  </a:lnTo>
                  <a:lnTo>
                    <a:pt x="422" y="156"/>
                  </a:lnTo>
                  <a:lnTo>
                    <a:pt x="414" y="173"/>
                  </a:lnTo>
                  <a:lnTo>
                    <a:pt x="406" y="188"/>
                  </a:lnTo>
                  <a:lnTo>
                    <a:pt x="395" y="204"/>
                  </a:lnTo>
                  <a:lnTo>
                    <a:pt x="384" y="217"/>
                  </a:lnTo>
                  <a:lnTo>
                    <a:pt x="371" y="231"/>
                  </a:lnTo>
                  <a:lnTo>
                    <a:pt x="357" y="244"/>
                  </a:lnTo>
                  <a:lnTo>
                    <a:pt x="343" y="256"/>
                  </a:lnTo>
                  <a:lnTo>
                    <a:pt x="327" y="266"/>
                  </a:lnTo>
                  <a:lnTo>
                    <a:pt x="312" y="274"/>
                  </a:lnTo>
                  <a:lnTo>
                    <a:pt x="294" y="283"/>
                  </a:lnTo>
                  <a:lnTo>
                    <a:pt x="276" y="290"/>
                  </a:lnTo>
                  <a:lnTo>
                    <a:pt x="259" y="294"/>
                  </a:lnTo>
                  <a:lnTo>
                    <a:pt x="243" y="298"/>
                  </a:lnTo>
                  <a:lnTo>
                    <a:pt x="229" y="300"/>
                  </a:lnTo>
                  <a:lnTo>
                    <a:pt x="215" y="301"/>
                  </a:lnTo>
                  <a:lnTo>
                    <a:pt x="199" y="301"/>
                  </a:lnTo>
                  <a:lnTo>
                    <a:pt x="185" y="301"/>
                  </a:lnTo>
                  <a:lnTo>
                    <a:pt x="170" y="299"/>
                  </a:lnTo>
                  <a:lnTo>
                    <a:pt x="156" y="297"/>
                  </a:lnTo>
                  <a:lnTo>
                    <a:pt x="142" y="293"/>
                  </a:lnTo>
                  <a:lnTo>
                    <a:pt x="128" y="289"/>
                  </a:lnTo>
                  <a:lnTo>
                    <a:pt x="114" y="283"/>
                  </a:lnTo>
                  <a:lnTo>
                    <a:pt x="101" y="278"/>
                  </a:lnTo>
                  <a:lnTo>
                    <a:pt x="89" y="270"/>
                  </a:lnTo>
                  <a:lnTo>
                    <a:pt x="75" y="262"/>
                  </a:lnTo>
                  <a:lnTo>
                    <a:pt x="64" y="254"/>
                  </a:lnTo>
                  <a:lnTo>
                    <a:pt x="52" y="245"/>
                  </a:lnTo>
                  <a:lnTo>
                    <a:pt x="41" y="234"/>
                  </a:lnTo>
                  <a:lnTo>
                    <a:pt x="38" y="231"/>
                  </a:lnTo>
                  <a:lnTo>
                    <a:pt x="33" y="229"/>
                  </a:lnTo>
                  <a:lnTo>
                    <a:pt x="29" y="228"/>
                  </a:lnTo>
                  <a:lnTo>
                    <a:pt x="25" y="227"/>
                  </a:lnTo>
                  <a:lnTo>
                    <a:pt x="20" y="228"/>
                  </a:lnTo>
                  <a:lnTo>
                    <a:pt x="16" y="229"/>
                  </a:lnTo>
                  <a:lnTo>
                    <a:pt x="11" y="231"/>
                  </a:lnTo>
                  <a:lnTo>
                    <a:pt x="7" y="234"/>
                  </a:lnTo>
                  <a:lnTo>
                    <a:pt x="5" y="238"/>
                  </a:lnTo>
                  <a:lnTo>
                    <a:pt x="3" y="241"/>
                  </a:lnTo>
                  <a:lnTo>
                    <a:pt x="1" y="247"/>
                  </a:lnTo>
                  <a:lnTo>
                    <a:pt x="0" y="251"/>
                  </a:lnTo>
                  <a:lnTo>
                    <a:pt x="1" y="256"/>
                  </a:lnTo>
                  <a:lnTo>
                    <a:pt x="3" y="260"/>
                  </a:lnTo>
                  <a:lnTo>
                    <a:pt x="5" y="265"/>
                  </a:lnTo>
                  <a:lnTo>
                    <a:pt x="8" y="269"/>
                  </a:lnTo>
                  <a:lnTo>
                    <a:pt x="18" y="278"/>
                  </a:lnTo>
                  <a:lnTo>
                    <a:pt x="28" y="287"/>
                  </a:lnTo>
                  <a:lnTo>
                    <a:pt x="39" y="295"/>
                  </a:lnTo>
                  <a:lnTo>
                    <a:pt x="51" y="303"/>
                  </a:lnTo>
                  <a:lnTo>
                    <a:pt x="62" y="311"/>
                  </a:lnTo>
                  <a:lnTo>
                    <a:pt x="74" y="318"/>
                  </a:lnTo>
                  <a:lnTo>
                    <a:pt x="86" y="323"/>
                  </a:lnTo>
                  <a:lnTo>
                    <a:pt x="99" y="329"/>
                  </a:lnTo>
                  <a:lnTo>
                    <a:pt x="112" y="333"/>
                  </a:lnTo>
                  <a:lnTo>
                    <a:pt x="124" y="337"/>
                  </a:lnTo>
                  <a:lnTo>
                    <a:pt x="137" y="341"/>
                  </a:lnTo>
                  <a:lnTo>
                    <a:pt x="151" y="344"/>
                  </a:lnTo>
                  <a:lnTo>
                    <a:pt x="164" y="346"/>
                  </a:lnTo>
                  <a:lnTo>
                    <a:pt x="177" y="347"/>
                  </a:lnTo>
                  <a:lnTo>
                    <a:pt x="190" y="348"/>
                  </a:lnTo>
                  <a:lnTo>
                    <a:pt x="205" y="348"/>
                  </a:lnTo>
                  <a:lnTo>
                    <a:pt x="220" y="348"/>
                  </a:lnTo>
                  <a:lnTo>
                    <a:pt x="237" y="347"/>
                  </a:lnTo>
                  <a:lnTo>
                    <a:pt x="253" y="345"/>
                  </a:lnTo>
                  <a:lnTo>
                    <a:pt x="270" y="342"/>
                  </a:lnTo>
                  <a:lnTo>
                    <a:pt x="291" y="336"/>
                  </a:lnTo>
                  <a:lnTo>
                    <a:pt x="311" y="329"/>
                  </a:lnTo>
                  <a:lnTo>
                    <a:pt x="329" y="320"/>
                  </a:lnTo>
                  <a:lnTo>
                    <a:pt x="348" y="310"/>
                  </a:lnTo>
                  <a:lnTo>
                    <a:pt x="366" y="298"/>
                  </a:lnTo>
                  <a:lnTo>
                    <a:pt x="382" y="286"/>
                  </a:lnTo>
                  <a:lnTo>
                    <a:pt x="398" y="271"/>
                  </a:lnTo>
                  <a:lnTo>
                    <a:pt x="413" y="257"/>
                  </a:lnTo>
                  <a:lnTo>
                    <a:pt x="427" y="240"/>
                  </a:lnTo>
                  <a:lnTo>
                    <a:pt x="439" y="224"/>
                  </a:lnTo>
                  <a:lnTo>
                    <a:pt x="450" y="206"/>
                  </a:lnTo>
                  <a:lnTo>
                    <a:pt x="460" y="188"/>
                  </a:lnTo>
                  <a:lnTo>
                    <a:pt x="469" y="170"/>
                  </a:lnTo>
                  <a:lnTo>
                    <a:pt x="475" y="150"/>
                  </a:lnTo>
                  <a:lnTo>
                    <a:pt x="482" y="131"/>
                  </a:lnTo>
                  <a:lnTo>
                    <a:pt x="485" y="110"/>
                  </a:lnTo>
                  <a:lnTo>
                    <a:pt x="514" y="159"/>
                  </a:lnTo>
                  <a:lnTo>
                    <a:pt x="518" y="163"/>
                  </a:lnTo>
                  <a:lnTo>
                    <a:pt x="523" y="166"/>
                  </a:lnTo>
                  <a:lnTo>
                    <a:pt x="529" y="168"/>
                  </a:lnTo>
                  <a:lnTo>
                    <a:pt x="535" y="170"/>
                  </a:lnTo>
                  <a:lnTo>
                    <a:pt x="541" y="168"/>
                  </a:lnTo>
                  <a:lnTo>
                    <a:pt x="547" y="166"/>
                  </a:lnTo>
                  <a:lnTo>
                    <a:pt x="551" y="164"/>
                  </a:lnTo>
                  <a:lnTo>
                    <a:pt x="555" y="160"/>
                  </a:lnTo>
                  <a:lnTo>
                    <a:pt x="557" y="156"/>
                  </a:lnTo>
                  <a:lnTo>
                    <a:pt x="558" y="152"/>
                  </a:lnTo>
                  <a:lnTo>
                    <a:pt x="559" y="147"/>
                  </a:lnTo>
                  <a:lnTo>
                    <a:pt x="559" y="142"/>
                  </a:lnTo>
                  <a:lnTo>
                    <a:pt x="558" y="138"/>
                  </a:lnTo>
                  <a:lnTo>
                    <a:pt x="556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683">
              <a:extLst>
                <a:ext uri="{FF2B5EF4-FFF2-40B4-BE49-F238E27FC236}">
                  <a16:creationId xmlns:a16="http://schemas.microsoft.com/office/drawing/2014/main" id="{0B7A1438-DF2D-4224-BF82-C687BA59A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788" y="828675"/>
              <a:ext cx="230188" cy="150813"/>
            </a:xfrm>
            <a:custGeom>
              <a:avLst/>
              <a:gdLst>
                <a:gd name="T0" fmla="*/ 212 w 581"/>
                <a:gd name="T1" fmla="*/ 217 h 379"/>
                <a:gd name="T2" fmla="*/ 198 w 581"/>
                <a:gd name="T3" fmla="*/ 217 h 379"/>
                <a:gd name="T4" fmla="*/ 187 w 581"/>
                <a:gd name="T5" fmla="*/ 226 h 379"/>
                <a:gd name="T6" fmla="*/ 124 w 581"/>
                <a:gd name="T7" fmla="*/ 267 h 379"/>
                <a:gd name="T8" fmla="*/ 135 w 581"/>
                <a:gd name="T9" fmla="*/ 216 h 379"/>
                <a:gd name="T10" fmla="*/ 157 w 581"/>
                <a:gd name="T11" fmla="*/ 167 h 379"/>
                <a:gd name="T12" fmla="*/ 178 w 581"/>
                <a:gd name="T13" fmla="*/ 138 h 379"/>
                <a:gd name="T14" fmla="*/ 203 w 581"/>
                <a:gd name="T15" fmla="*/ 110 h 379"/>
                <a:gd name="T16" fmla="*/ 233 w 581"/>
                <a:gd name="T17" fmla="*/ 88 h 379"/>
                <a:gd name="T18" fmla="*/ 265 w 581"/>
                <a:gd name="T19" fmla="*/ 70 h 379"/>
                <a:gd name="T20" fmla="*/ 299 w 581"/>
                <a:gd name="T21" fmla="*/ 57 h 379"/>
                <a:gd name="T22" fmla="*/ 343 w 581"/>
                <a:gd name="T23" fmla="*/ 49 h 379"/>
                <a:gd name="T24" fmla="*/ 390 w 581"/>
                <a:gd name="T25" fmla="*/ 49 h 379"/>
                <a:gd name="T26" fmla="*/ 435 w 581"/>
                <a:gd name="T27" fmla="*/ 58 h 379"/>
                <a:gd name="T28" fmla="*/ 478 w 581"/>
                <a:gd name="T29" fmla="*/ 77 h 379"/>
                <a:gd name="T30" fmla="*/ 517 w 581"/>
                <a:gd name="T31" fmla="*/ 103 h 379"/>
                <a:gd name="T32" fmla="*/ 542 w 581"/>
                <a:gd name="T33" fmla="*/ 130 h 379"/>
                <a:gd name="T34" fmla="*/ 556 w 581"/>
                <a:gd name="T35" fmla="*/ 134 h 379"/>
                <a:gd name="T36" fmla="*/ 569 w 581"/>
                <a:gd name="T37" fmla="*/ 131 h 379"/>
                <a:gd name="T38" fmla="*/ 579 w 581"/>
                <a:gd name="T39" fmla="*/ 121 h 379"/>
                <a:gd name="T40" fmla="*/ 581 w 581"/>
                <a:gd name="T41" fmla="*/ 108 h 379"/>
                <a:gd name="T42" fmla="*/ 576 w 581"/>
                <a:gd name="T43" fmla="*/ 94 h 379"/>
                <a:gd name="T44" fmla="*/ 532 w 581"/>
                <a:gd name="T45" fmla="*/ 56 h 379"/>
                <a:gd name="T46" fmla="*/ 485 w 581"/>
                <a:gd name="T47" fmla="*/ 27 h 379"/>
                <a:gd name="T48" fmla="*/ 432 w 581"/>
                <a:gd name="T49" fmla="*/ 8 h 379"/>
                <a:gd name="T50" fmla="*/ 376 w 581"/>
                <a:gd name="T51" fmla="*/ 0 h 379"/>
                <a:gd name="T52" fmla="*/ 319 w 581"/>
                <a:gd name="T53" fmla="*/ 4 h 379"/>
                <a:gd name="T54" fmla="*/ 272 w 581"/>
                <a:gd name="T55" fmla="*/ 16 h 379"/>
                <a:gd name="T56" fmla="*/ 232 w 581"/>
                <a:gd name="T57" fmla="*/ 34 h 379"/>
                <a:gd name="T58" fmla="*/ 195 w 581"/>
                <a:gd name="T59" fmla="*/ 57 h 379"/>
                <a:gd name="T60" fmla="*/ 161 w 581"/>
                <a:gd name="T61" fmla="*/ 86 h 379"/>
                <a:gd name="T62" fmla="*/ 132 w 581"/>
                <a:gd name="T63" fmla="*/ 119 h 379"/>
                <a:gd name="T64" fmla="*/ 107 w 581"/>
                <a:gd name="T65" fmla="*/ 159 h 379"/>
                <a:gd name="T66" fmla="*/ 89 w 581"/>
                <a:gd name="T67" fmla="*/ 203 h 379"/>
                <a:gd name="T68" fmla="*/ 78 w 581"/>
                <a:gd name="T69" fmla="*/ 249 h 379"/>
                <a:gd name="T70" fmla="*/ 41 w 581"/>
                <a:gd name="T71" fmla="*/ 214 h 379"/>
                <a:gd name="T72" fmla="*/ 29 w 581"/>
                <a:gd name="T73" fmla="*/ 207 h 379"/>
                <a:gd name="T74" fmla="*/ 15 w 581"/>
                <a:gd name="T75" fmla="*/ 208 h 379"/>
                <a:gd name="T76" fmla="*/ 4 w 581"/>
                <a:gd name="T77" fmla="*/ 218 h 379"/>
                <a:gd name="T78" fmla="*/ 0 w 581"/>
                <a:gd name="T79" fmla="*/ 231 h 379"/>
                <a:gd name="T80" fmla="*/ 5 w 581"/>
                <a:gd name="T81" fmla="*/ 245 h 379"/>
                <a:gd name="T82" fmla="*/ 96 w 581"/>
                <a:gd name="T83" fmla="*/ 377 h 379"/>
                <a:gd name="T84" fmla="*/ 107 w 581"/>
                <a:gd name="T85" fmla="*/ 379 h 379"/>
                <a:gd name="T86" fmla="*/ 118 w 581"/>
                <a:gd name="T87" fmla="*/ 378 h 379"/>
                <a:gd name="T88" fmla="*/ 223 w 581"/>
                <a:gd name="T89" fmla="*/ 256 h 379"/>
                <a:gd name="T90" fmla="*/ 229 w 581"/>
                <a:gd name="T91" fmla="*/ 242 h 379"/>
                <a:gd name="T92" fmla="*/ 227 w 581"/>
                <a:gd name="T93" fmla="*/ 22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1" h="379">
                  <a:moveTo>
                    <a:pt x="220" y="221"/>
                  </a:moveTo>
                  <a:lnTo>
                    <a:pt x="217" y="219"/>
                  </a:lnTo>
                  <a:lnTo>
                    <a:pt x="212" y="217"/>
                  </a:lnTo>
                  <a:lnTo>
                    <a:pt x="208" y="216"/>
                  </a:lnTo>
                  <a:lnTo>
                    <a:pt x="203" y="216"/>
                  </a:lnTo>
                  <a:lnTo>
                    <a:pt x="198" y="217"/>
                  </a:lnTo>
                  <a:lnTo>
                    <a:pt x="195" y="219"/>
                  </a:lnTo>
                  <a:lnTo>
                    <a:pt x="190" y="221"/>
                  </a:lnTo>
                  <a:lnTo>
                    <a:pt x="187" y="226"/>
                  </a:lnTo>
                  <a:lnTo>
                    <a:pt x="124" y="301"/>
                  </a:lnTo>
                  <a:lnTo>
                    <a:pt x="123" y="283"/>
                  </a:lnTo>
                  <a:lnTo>
                    <a:pt x="124" y="267"/>
                  </a:lnTo>
                  <a:lnTo>
                    <a:pt x="126" y="250"/>
                  </a:lnTo>
                  <a:lnTo>
                    <a:pt x="131" y="233"/>
                  </a:lnTo>
                  <a:lnTo>
                    <a:pt x="135" y="216"/>
                  </a:lnTo>
                  <a:lnTo>
                    <a:pt x="140" y="200"/>
                  </a:lnTo>
                  <a:lnTo>
                    <a:pt x="148" y="184"/>
                  </a:lnTo>
                  <a:lnTo>
                    <a:pt x="157" y="167"/>
                  </a:lnTo>
                  <a:lnTo>
                    <a:pt x="164" y="157"/>
                  </a:lnTo>
                  <a:lnTo>
                    <a:pt x="170" y="147"/>
                  </a:lnTo>
                  <a:lnTo>
                    <a:pt x="178" y="138"/>
                  </a:lnTo>
                  <a:lnTo>
                    <a:pt x="187" y="128"/>
                  </a:lnTo>
                  <a:lnTo>
                    <a:pt x="195" y="119"/>
                  </a:lnTo>
                  <a:lnTo>
                    <a:pt x="203" y="110"/>
                  </a:lnTo>
                  <a:lnTo>
                    <a:pt x="213" y="102"/>
                  </a:lnTo>
                  <a:lnTo>
                    <a:pt x="223" y="94"/>
                  </a:lnTo>
                  <a:lnTo>
                    <a:pt x="233" y="88"/>
                  </a:lnTo>
                  <a:lnTo>
                    <a:pt x="243" y="81"/>
                  </a:lnTo>
                  <a:lnTo>
                    <a:pt x="254" y="76"/>
                  </a:lnTo>
                  <a:lnTo>
                    <a:pt x="265" y="70"/>
                  </a:lnTo>
                  <a:lnTo>
                    <a:pt x="276" y="65"/>
                  </a:lnTo>
                  <a:lnTo>
                    <a:pt x="287" y="60"/>
                  </a:lnTo>
                  <a:lnTo>
                    <a:pt x="299" y="57"/>
                  </a:lnTo>
                  <a:lnTo>
                    <a:pt x="312" y="54"/>
                  </a:lnTo>
                  <a:lnTo>
                    <a:pt x="327" y="50"/>
                  </a:lnTo>
                  <a:lnTo>
                    <a:pt x="343" y="49"/>
                  </a:lnTo>
                  <a:lnTo>
                    <a:pt x="358" y="48"/>
                  </a:lnTo>
                  <a:lnTo>
                    <a:pt x="375" y="48"/>
                  </a:lnTo>
                  <a:lnTo>
                    <a:pt x="390" y="49"/>
                  </a:lnTo>
                  <a:lnTo>
                    <a:pt x="405" y="50"/>
                  </a:lnTo>
                  <a:lnTo>
                    <a:pt x="421" y="54"/>
                  </a:lnTo>
                  <a:lnTo>
                    <a:pt x="435" y="58"/>
                  </a:lnTo>
                  <a:lnTo>
                    <a:pt x="450" y="64"/>
                  </a:lnTo>
                  <a:lnTo>
                    <a:pt x="464" y="69"/>
                  </a:lnTo>
                  <a:lnTo>
                    <a:pt x="478" y="77"/>
                  </a:lnTo>
                  <a:lnTo>
                    <a:pt x="492" y="85"/>
                  </a:lnTo>
                  <a:lnTo>
                    <a:pt x="505" y="93"/>
                  </a:lnTo>
                  <a:lnTo>
                    <a:pt x="517" y="103"/>
                  </a:lnTo>
                  <a:lnTo>
                    <a:pt x="528" y="114"/>
                  </a:lnTo>
                  <a:lnTo>
                    <a:pt x="539" y="126"/>
                  </a:lnTo>
                  <a:lnTo>
                    <a:pt x="542" y="130"/>
                  </a:lnTo>
                  <a:lnTo>
                    <a:pt x="547" y="132"/>
                  </a:lnTo>
                  <a:lnTo>
                    <a:pt x="551" y="133"/>
                  </a:lnTo>
                  <a:lnTo>
                    <a:pt x="556" y="134"/>
                  </a:lnTo>
                  <a:lnTo>
                    <a:pt x="560" y="134"/>
                  </a:lnTo>
                  <a:lnTo>
                    <a:pt x="565" y="133"/>
                  </a:lnTo>
                  <a:lnTo>
                    <a:pt x="569" y="131"/>
                  </a:lnTo>
                  <a:lnTo>
                    <a:pt x="573" y="129"/>
                  </a:lnTo>
                  <a:lnTo>
                    <a:pt x="577" y="125"/>
                  </a:lnTo>
                  <a:lnTo>
                    <a:pt x="579" y="121"/>
                  </a:lnTo>
                  <a:lnTo>
                    <a:pt x="581" y="117"/>
                  </a:lnTo>
                  <a:lnTo>
                    <a:pt x="581" y="112"/>
                  </a:lnTo>
                  <a:lnTo>
                    <a:pt x="581" y="108"/>
                  </a:lnTo>
                  <a:lnTo>
                    <a:pt x="580" y="103"/>
                  </a:lnTo>
                  <a:lnTo>
                    <a:pt x="578" y="99"/>
                  </a:lnTo>
                  <a:lnTo>
                    <a:pt x="576" y="94"/>
                  </a:lnTo>
                  <a:lnTo>
                    <a:pt x="562" y="81"/>
                  </a:lnTo>
                  <a:lnTo>
                    <a:pt x="548" y="68"/>
                  </a:lnTo>
                  <a:lnTo>
                    <a:pt x="532" y="56"/>
                  </a:lnTo>
                  <a:lnTo>
                    <a:pt x="517" y="45"/>
                  </a:lnTo>
                  <a:lnTo>
                    <a:pt x="502" y="35"/>
                  </a:lnTo>
                  <a:lnTo>
                    <a:pt x="485" y="27"/>
                  </a:lnTo>
                  <a:lnTo>
                    <a:pt x="467" y="19"/>
                  </a:lnTo>
                  <a:lnTo>
                    <a:pt x="450" y="13"/>
                  </a:lnTo>
                  <a:lnTo>
                    <a:pt x="432" y="8"/>
                  </a:lnTo>
                  <a:lnTo>
                    <a:pt x="413" y="4"/>
                  </a:lnTo>
                  <a:lnTo>
                    <a:pt x="394" y="2"/>
                  </a:lnTo>
                  <a:lnTo>
                    <a:pt x="376" y="0"/>
                  </a:lnTo>
                  <a:lnTo>
                    <a:pt x="357" y="0"/>
                  </a:lnTo>
                  <a:lnTo>
                    <a:pt x="338" y="1"/>
                  </a:lnTo>
                  <a:lnTo>
                    <a:pt x="319" y="4"/>
                  </a:lnTo>
                  <a:lnTo>
                    <a:pt x="301" y="7"/>
                  </a:lnTo>
                  <a:lnTo>
                    <a:pt x="286" y="12"/>
                  </a:lnTo>
                  <a:lnTo>
                    <a:pt x="272" y="16"/>
                  </a:lnTo>
                  <a:lnTo>
                    <a:pt x="259" y="20"/>
                  </a:lnTo>
                  <a:lnTo>
                    <a:pt x="245" y="27"/>
                  </a:lnTo>
                  <a:lnTo>
                    <a:pt x="232" y="34"/>
                  </a:lnTo>
                  <a:lnTo>
                    <a:pt x="219" y="40"/>
                  </a:lnTo>
                  <a:lnTo>
                    <a:pt x="207" y="48"/>
                  </a:lnTo>
                  <a:lnTo>
                    <a:pt x="195" y="57"/>
                  </a:lnTo>
                  <a:lnTo>
                    <a:pt x="184" y="66"/>
                  </a:lnTo>
                  <a:lnTo>
                    <a:pt x="171" y="76"/>
                  </a:lnTo>
                  <a:lnTo>
                    <a:pt x="161" y="86"/>
                  </a:lnTo>
                  <a:lnTo>
                    <a:pt x="152" y="97"/>
                  </a:lnTo>
                  <a:lnTo>
                    <a:pt x="142" y="108"/>
                  </a:lnTo>
                  <a:lnTo>
                    <a:pt x="132" y="119"/>
                  </a:lnTo>
                  <a:lnTo>
                    <a:pt x="124" y="131"/>
                  </a:lnTo>
                  <a:lnTo>
                    <a:pt x="115" y="144"/>
                  </a:lnTo>
                  <a:lnTo>
                    <a:pt x="107" y="159"/>
                  </a:lnTo>
                  <a:lnTo>
                    <a:pt x="101" y="173"/>
                  </a:lnTo>
                  <a:lnTo>
                    <a:pt x="94" y="188"/>
                  </a:lnTo>
                  <a:lnTo>
                    <a:pt x="89" y="203"/>
                  </a:lnTo>
                  <a:lnTo>
                    <a:pt x="84" y="218"/>
                  </a:lnTo>
                  <a:lnTo>
                    <a:pt x="81" y="234"/>
                  </a:lnTo>
                  <a:lnTo>
                    <a:pt x="78" y="249"/>
                  </a:lnTo>
                  <a:lnTo>
                    <a:pt x="76" y="265"/>
                  </a:lnTo>
                  <a:lnTo>
                    <a:pt x="44" y="217"/>
                  </a:lnTo>
                  <a:lnTo>
                    <a:pt x="41" y="214"/>
                  </a:lnTo>
                  <a:lnTo>
                    <a:pt x="37" y="210"/>
                  </a:lnTo>
                  <a:lnTo>
                    <a:pt x="33" y="208"/>
                  </a:lnTo>
                  <a:lnTo>
                    <a:pt x="29" y="207"/>
                  </a:lnTo>
                  <a:lnTo>
                    <a:pt x="25" y="207"/>
                  </a:lnTo>
                  <a:lnTo>
                    <a:pt x="19" y="207"/>
                  </a:lnTo>
                  <a:lnTo>
                    <a:pt x="15" y="208"/>
                  </a:lnTo>
                  <a:lnTo>
                    <a:pt x="10" y="212"/>
                  </a:lnTo>
                  <a:lnTo>
                    <a:pt x="7" y="214"/>
                  </a:lnTo>
                  <a:lnTo>
                    <a:pt x="4" y="218"/>
                  </a:lnTo>
                  <a:lnTo>
                    <a:pt x="1" y="221"/>
                  </a:lnTo>
                  <a:lnTo>
                    <a:pt x="0" y="226"/>
                  </a:lnTo>
                  <a:lnTo>
                    <a:pt x="0" y="231"/>
                  </a:lnTo>
                  <a:lnTo>
                    <a:pt x="0" y="236"/>
                  </a:lnTo>
                  <a:lnTo>
                    <a:pt x="1" y="240"/>
                  </a:lnTo>
                  <a:lnTo>
                    <a:pt x="5" y="245"/>
                  </a:lnTo>
                  <a:lnTo>
                    <a:pt x="89" y="369"/>
                  </a:lnTo>
                  <a:lnTo>
                    <a:pt x="92" y="374"/>
                  </a:lnTo>
                  <a:lnTo>
                    <a:pt x="96" y="377"/>
                  </a:lnTo>
                  <a:lnTo>
                    <a:pt x="102" y="379"/>
                  </a:lnTo>
                  <a:lnTo>
                    <a:pt x="107" y="379"/>
                  </a:lnTo>
                  <a:lnTo>
                    <a:pt x="107" y="379"/>
                  </a:lnTo>
                  <a:lnTo>
                    <a:pt x="108" y="379"/>
                  </a:lnTo>
                  <a:lnTo>
                    <a:pt x="114" y="379"/>
                  </a:lnTo>
                  <a:lnTo>
                    <a:pt x="118" y="378"/>
                  </a:lnTo>
                  <a:lnTo>
                    <a:pt x="123" y="375"/>
                  </a:lnTo>
                  <a:lnTo>
                    <a:pt x="126" y="372"/>
                  </a:lnTo>
                  <a:lnTo>
                    <a:pt x="223" y="256"/>
                  </a:lnTo>
                  <a:lnTo>
                    <a:pt x="227" y="251"/>
                  </a:lnTo>
                  <a:lnTo>
                    <a:pt x="228" y="247"/>
                  </a:lnTo>
                  <a:lnTo>
                    <a:pt x="229" y="242"/>
                  </a:lnTo>
                  <a:lnTo>
                    <a:pt x="229" y="238"/>
                  </a:lnTo>
                  <a:lnTo>
                    <a:pt x="228" y="234"/>
                  </a:lnTo>
                  <a:lnTo>
                    <a:pt x="227" y="229"/>
                  </a:lnTo>
                  <a:lnTo>
                    <a:pt x="223" y="225"/>
                  </a:lnTo>
                  <a:lnTo>
                    <a:pt x="220" y="2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751465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3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FINANCIAL PERSPECTIVE</a:t>
            </a:r>
          </a:p>
        </p:txBody>
      </p: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F509A92C-D804-40B7-8A89-92591A162B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373596"/>
              </p:ext>
            </p:extLst>
          </p:nvPr>
        </p:nvGraphicFramePr>
        <p:xfrm>
          <a:off x="6213629" y="1637796"/>
          <a:ext cx="5543239" cy="4496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7" name="TextBox 86">
            <a:extLst>
              <a:ext uri="{FF2B5EF4-FFF2-40B4-BE49-F238E27FC236}">
                <a16:creationId xmlns:a16="http://schemas.microsoft.com/office/drawing/2014/main" id="{272137A7-80FC-401A-9E10-827E089EF3F5}"/>
              </a:ext>
            </a:extLst>
          </p:cNvPr>
          <p:cNvSpPr txBox="1"/>
          <p:nvPr/>
        </p:nvSpPr>
        <p:spPr>
          <a:xfrm>
            <a:off x="959850" y="2062360"/>
            <a:ext cx="45974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  <a:r>
              <a:rPr lang="en-US" sz="1600" dirty="0" err="1"/>
              <a:t>Etiam</a:t>
            </a:r>
            <a:r>
              <a:rPr lang="en-US" sz="1600" dirty="0"/>
              <a:t> cursus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lacus</a:t>
            </a:r>
            <a:r>
              <a:rPr lang="en-US" sz="1600" dirty="0"/>
              <a:t>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rhoncus</a:t>
            </a:r>
            <a:r>
              <a:rPr lang="en-US" sz="1600" dirty="0"/>
              <a:t>. </a:t>
            </a:r>
            <a:r>
              <a:rPr lang="en-US" sz="1600" dirty="0" err="1"/>
              <a:t>Pellentesque</a:t>
            </a:r>
            <a:r>
              <a:rPr lang="en-US" sz="1600" dirty="0"/>
              <a:t> ac </a:t>
            </a:r>
            <a:r>
              <a:rPr lang="en-US" sz="1600" dirty="0" err="1"/>
              <a:t>hendrerit</a:t>
            </a:r>
            <a:r>
              <a:rPr lang="en-US" sz="1600" dirty="0"/>
              <a:t> </a:t>
            </a:r>
            <a:r>
              <a:rPr lang="en-US" sz="1600" dirty="0" err="1"/>
              <a:t>enim</a:t>
            </a:r>
            <a:r>
              <a:rPr lang="en-US" sz="1600" dirty="0"/>
              <a:t>. </a:t>
            </a:r>
            <a:r>
              <a:rPr lang="en-US" sz="1600" dirty="0" err="1"/>
              <a:t>Fusce</a:t>
            </a:r>
            <a:r>
              <a:rPr lang="en-US" sz="1600" dirty="0"/>
              <a:t> id </a:t>
            </a:r>
            <a:r>
              <a:rPr lang="en-US" sz="1600" dirty="0" err="1"/>
              <a:t>odio</a:t>
            </a:r>
            <a:r>
              <a:rPr lang="en-US" sz="1600" dirty="0"/>
              <a:t> et </a:t>
            </a:r>
            <a:r>
              <a:rPr lang="en-US" sz="1600" dirty="0" err="1"/>
              <a:t>erat</a:t>
            </a:r>
            <a:r>
              <a:rPr lang="en-US" sz="1600" dirty="0"/>
              <a:t> </a:t>
            </a:r>
            <a:r>
              <a:rPr lang="en-US" sz="1600" dirty="0" err="1"/>
              <a:t>tincidunt</a:t>
            </a:r>
            <a:r>
              <a:rPr lang="en-US" sz="1600" dirty="0"/>
              <a:t> </a:t>
            </a:r>
            <a:r>
              <a:rPr lang="en-US" sz="1600" dirty="0" err="1"/>
              <a:t>sodales</a:t>
            </a:r>
            <a:r>
              <a:rPr lang="en-US" sz="1600" dirty="0"/>
              <a:t> at a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r>
              <a:rPr lang="en-US" sz="1600" dirty="0" err="1"/>
              <a:t>Nulla</a:t>
            </a:r>
            <a:r>
              <a:rPr lang="en-US" sz="1600" dirty="0"/>
              <a:t> </a:t>
            </a:r>
            <a:r>
              <a:rPr lang="en-US" sz="1600" dirty="0" err="1"/>
              <a:t>facilisi</a:t>
            </a:r>
            <a:r>
              <a:rPr lang="en-US" sz="1600" dirty="0"/>
              <a:t>. </a:t>
            </a:r>
            <a:r>
              <a:rPr lang="en-US" sz="1600" dirty="0" err="1"/>
              <a:t>Praesent</a:t>
            </a:r>
            <a:r>
              <a:rPr lang="en-US" sz="1600" dirty="0"/>
              <a:t> </a:t>
            </a:r>
            <a:r>
              <a:rPr lang="en-US" sz="1600" dirty="0" err="1"/>
              <a:t>mattis</a:t>
            </a:r>
            <a:r>
              <a:rPr lang="en-US" sz="1600" dirty="0"/>
              <a:t>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eros</a:t>
            </a:r>
            <a:r>
              <a:rPr lang="en-US" sz="1600" dirty="0"/>
              <a:t>, ac </a:t>
            </a:r>
            <a:r>
              <a:rPr lang="en-US" sz="1600" dirty="0" err="1"/>
              <a:t>fringilla</a:t>
            </a:r>
            <a:r>
              <a:rPr lang="en-US" sz="1600" dirty="0"/>
              <a:t> mi </a:t>
            </a:r>
            <a:r>
              <a:rPr lang="en-US" sz="1600" dirty="0" err="1"/>
              <a:t>auctor</a:t>
            </a:r>
            <a:r>
              <a:rPr lang="en-US" sz="1600" dirty="0"/>
              <a:t> vitae. 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6125B6C6-3D84-4340-8FCE-B8C7A489B0DC}"/>
              </a:ext>
            </a:extLst>
          </p:cNvPr>
          <p:cNvSpPr txBox="1"/>
          <p:nvPr/>
        </p:nvSpPr>
        <p:spPr>
          <a:xfrm>
            <a:off x="952498" y="3732311"/>
            <a:ext cx="2124076" cy="92333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  <a:latin typeface="+mj-lt"/>
              </a:rPr>
              <a:t>74%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68BDD89-D6DD-4D13-8C16-897539A1E74B}"/>
              </a:ext>
            </a:extLst>
          </p:cNvPr>
          <p:cNvSpPr txBox="1"/>
          <p:nvPr/>
        </p:nvSpPr>
        <p:spPr>
          <a:xfrm>
            <a:off x="3440529" y="3732311"/>
            <a:ext cx="2124074" cy="92333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  <a:latin typeface="+mj-lt"/>
              </a:rPr>
              <a:t>26%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0BE970B-6E62-48FA-9A3E-BAD92EE4CB08}"/>
              </a:ext>
            </a:extLst>
          </p:cNvPr>
          <p:cNvSpPr txBox="1"/>
          <p:nvPr/>
        </p:nvSpPr>
        <p:spPr>
          <a:xfrm>
            <a:off x="952499" y="4848264"/>
            <a:ext cx="212407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48E8358-DDF8-4ABF-9BF1-FD5CE91D0766}"/>
              </a:ext>
            </a:extLst>
          </p:cNvPr>
          <p:cNvSpPr txBox="1"/>
          <p:nvPr/>
        </p:nvSpPr>
        <p:spPr>
          <a:xfrm>
            <a:off x="3440528" y="4848264"/>
            <a:ext cx="212407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0071449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4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CUSTOMER PERSPEC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E266B6E-A3E1-4E83-A284-AE89ACE4BF4F}"/>
              </a:ext>
            </a:extLst>
          </p:cNvPr>
          <p:cNvGrpSpPr/>
          <p:nvPr/>
        </p:nvGrpSpPr>
        <p:grpSpPr>
          <a:xfrm>
            <a:off x="3913188" y="1717748"/>
            <a:ext cx="4343400" cy="4343401"/>
            <a:chOff x="3913188" y="1600200"/>
            <a:chExt cx="4343400" cy="434340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430D05E-E542-4A7A-820D-1D7456314943}"/>
                </a:ext>
              </a:extLst>
            </p:cNvPr>
            <p:cNvGrpSpPr/>
            <p:nvPr/>
          </p:nvGrpSpPr>
          <p:grpSpPr>
            <a:xfrm>
              <a:off x="3913188" y="1600200"/>
              <a:ext cx="4343400" cy="4343401"/>
              <a:chOff x="3913188" y="1600200"/>
              <a:chExt cx="4343400" cy="4343401"/>
            </a:xfrm>
            <a:effectLst/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21FBD271-8B92-4637-8B26-873FB982A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3188" y="1600200"/>
                <a:ext cx="2008188" cy="2020888"/>
              </a:xfrm>
              <a:custGeom>
                <a:avLst/>
                <a:gdLst>
                  <a:gd name="T0" fmla="*/ 55 w 172"/>
                  <a:gd name="T1" fmla="*/ 173 h 173"/>
                  <a:gd name="T2" fmla="*/ 0 w 172"/>
                  <a:gd name="T3" fmla="*/ 173 h 173"/>
                  <a:gd name="T4" fmla="*/ 172 w 172"/>
                  <a:gd name="T5" fmla="*/ 0 h 173"/>
                  <a:gd name="T6" fmla="*/ 172 w 172"/>
                  <a:gd name="T7" fmla="*/ 55 h 173"/>
                  <a:gd name="T8" fmla="*/ 55 w 172"/>
                  <a:gd name="T9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173">
                    <a:moveTo>
                      <a:pt x="55" y="173"/>
                    </a:moveTo>
                    <a:cubicBezTo>
                      <a:pt x="0" y="173"/>
                      <a:pt x="0" y="173"/>
                      <a:pt x="0" y="173"/>
                    </a:cubicBezTo>
                    <a:cubicBezTo>
                      <a:pt x="7" y="80"/>
                      <a:pt x="80" y="7"/>
                      <a:pt x="172" y="0"/>
                    </a:cubicBezTo>
                    <a:cubicBezTo>
                      <a:pt x="172" y="55"/>
                      <a:pt x="172" y="55"/>
                      <a:pt x="172" y="55"/>
                    </a:cubicBezTo>
                    <a:cubicBezTo>
                      <a:pt x="110" y="61"/>
                      <a:pt x="61" y="111"/>
                      <a:pt x="55" y="17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73F932C8-AF28-4A7B-BDA9-82D3B71F3E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5700" y="3935413"/>
                <a:ext cx="2020888" cy="2008188"/>
              </a:xfrm>
              <a:custGeom>
                <a:avLst/>
                <a:gdLst>
                  <a:gd name="T0" fmla="*/ 118 w 173"/>
                  <a:gd name="T1" fmla="*/ 0 h 172"/>
                  <a:gd name="T2" fmla="*/ 173 w 173"/>
                  <a:gd name="T3" fmla="*/ 0 h 172"/>
                  <a:gd name="T4" fmla="*/ 0 w 173"/>
                  <a:gd name="T5" fmla="*/ 172 h 172"/>
                  <a:gd name="T6" fmla="*/ 0 w 173"/>
                  <a:gd name="T7" fmla="*/ 117 h 172"/>
                  <a:gd name="T8" fmla="*/ 118 w 173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72">
                    <a:moveTo>
                      <a:pt x="118" y="0"/>
                    </a:moveTo>
                    <a:cubicBezTo>
                      <a:pt x="173" y="0"/>
                      <a:pt x="173" y="0"/>
                      <a:pt x="173" y="0"/>
                    </a:cubicBezTo>
                    <a:cubicBezTo>
                      <a:pt x="166" y="92"/>
                      <a:pt x="93" y="166"/>
                      <a:pt x="0" y="172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62" y="111"/>
                      <a:pt x="112" y="62"/>
                      <a:pt x="11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6D8DACB5-7050-41E1-9B1A-9174CA70A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3188" y="3935413"/>
                <a:ext cx="2008188" cy="2008188"/>
              </a:xfrm>
              <a:custGeom>
                <a:avLst/>
                <a:gdLst>
                  <a:gd name="T0" fmla="*/ 172 w 172"/>
                  <a:gd name="T1" fmla="*/ 117 h 172"/>
                  <a:gd name="T2" fmla="*/ 172 w 172"/>
                  <a:gd name="T3" fmla="*/ 172 h 172"/>
                  <a:gd name="T4" fmla="*/ 0 w 172"/>
                  <a:gd name="T5" fmla="*/ 0 h 172"/>
                  <a:gd name="T6" fmla="*/ 55 w 172"/>
                  <a:gd name="T7" fmla="*/ 0 h 172"/>
                  <a:gd name="T8" fmla="*/ 172 w 172"/>
                  <a:gd name="T9" fmla="*/ 117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172">
                    <a:moveTo>
                      <a:pt x="172" y="117"/>
                    </a:moveTo>
                    <a:cubicBezTo>
                      <a:pt x="172" y="172"/>
                      <a:pt x="172" y="172"/>
                      <a:pt x="172" y="172"/>
                    </a:cubicBezTo>
                    <a:cubicBezTo>
                      <a:pt x="80" y="166"/>
                      <a:pt x="7" y="92"/>
                      <a:pt x="0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61" y="62"/>
                      <a:pt x="110" y="111"/>
                      <a:pt x="172" y="11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911C8ACA-A542-4D08-9126-B96D0F71B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5700" y="1600200"/>
                <a:ext cx="2020888" cy="2020888"/>
              </a:xfrm>
              <a:custGeom>
                <a:avLst/>
                <a:gdLst>
                  <a:gd name="T0" fmla="*/ 0 w 173"/>
                  <a:gd name="T1" fmla="*/ 55 h 173"/>
                  <a:gd name="T2" fmla="*/ 0 w 173"/>
                  <a:gd name="T3" fmla="*/ 0 h 173"/>
                  <a:gd name="T4" fmla="*/ 173 w 173"/>
                  <a:gd name="T5" fmla="*/ 173 h 173"/>
                  <a:gd name="T6" fmla="*/ 118 w 173"/>
                  <a:gd name="T7" fmla="*/ 173 h 173"/>
                  <a:gd name="T8" fmla="*/ 0 w 173"/>
                  <a:gd name="T9" fmla="*/ 5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73">
                    <a:moveTo>
                      <a:pt x="0" y="5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3" y="7"/>
                      <a:pt x="166" y="80"/>
                      <a:pt x="173" y="173"/>
                    </a:cubicBezTo>
                    <a:cubicBezTo>
                      <a:pt x="118" y="173"/>
                      <a:pt x="118" y="173"/>
                      <a:pt x="118" y="173"/>
                    </a:cubicBezTo>
                    <a:cubicBezTo>
                      <a:pt x="112" y="111"/>
                      <a:pt x="62" y="61"/>
                      <a:pt x="0" y="5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745DC8CE-88A3-43D3-9F62-45AA3B8D0820}"/>
                </a:ext>
              </a:extLst>
            </p:cNvPr>
            <p:cNvSpPr/>
            <p:nvPr/>
          </p:nvSpPr>
          <p:spPr>
            <a:xfrm flipV="1">
              <a:off x="4518819" y="2194720"/>
              <a:ext cx="3154361" cy="3154361"/>
            </a:xfrm>
            <a:custGeom>
              <a:avLst/>
              <a:gdLst>
                <a:gd name="connsiteX0" fmla="*/ 1577181 w 3154361"/>
                <a:gd name="connsiteY0" fmla="*/ 3154361 h 3154361"/>
                <a:gd name="connsiteX1" fmla="*/ 1780203 w 3154361"/>
                <a:gd name="connsiteY1" fmla="*/ 2804324 h 3154361"/>
                <a:gd name="connsiteX2" fmla="*/ 1797438 w 3154361"/>
                <a:gd name="connsiteY2" fmla="*/ 2802025 h 3154361"/>
                <a:gd name="connsiteX3" fmla="*/ 2796180 w 3154361"/>
                <a:gd name="connsiteY3" fmla="*/ 1827945 h 3154361"/>
                <a:gd name="connsiteX4" fmla="*/ 2803383 w 3154361"/>
                <a:gd name="connsiteY4" fmla="*/ 1780748 h 3154361"/>
                <a:gd name="connsiteX5" fmla="*/ 3154361 w 3154361"/>
                <a:gd name="connsiteY5" fmla="*/ 1577181 h 3154361"/>
                <a:gd name="connsiteX6" fmla="*/ 2803383 w 3154361"/>
                <a:gd name="connsiteY6" fmla="*/ 1373614 h 3154361"/>
                <a:gd name="connsiteX7" fmla="*/ 2796180 w 3154361"/>
                <a:gd name="connsiteY7" fmla="*/ 1326414 h 3154361"/>
                <a:gd name="connsiteX8" fmla="*/ 1797438 w 3154361"/>
                <a:gd name="connsiteY8" fmla="*/ 352335 h 3154361"/>
                <a:gd name="connsiteX9" fmla="*/ 1780201 w 3154361"/>
                <a:gd name="connsiteY9" fmla="*/ 350035 h 3154361"/>
                <a:gd name="connsiteX10" fmla="*/ 1577181 w 3154361"/>
                <a:gd name="connsiteY10" fmla="*/ 0 h 3154361"/>
                <a:gd name="connsiteX11" fmla="*/ 1374161 w 3154361"/>
                <a:gd name="connsiteY11" fmla="*/ 350035 h 3154361"/>
                <a:gd name="connsiteX12" fmla="*/ 1356922 w 3154361"/>
                <a:gd name="connsiteY12" fmla="*/ 352335 h 3154361"/>
                <a:gd name="connsiteX13" fmla="*/ 358181 w 3154361"/>
                <a:gd name="connsiteY13" fmla="*/ 1326414 h 3154361"/>
                <a:gd name="connsiteX14" fmla="*/ 350977 w 3154361"/>
                <a:gd name="connsiteY14" fmla="*/ 1373613 h 3154361"/>
                <a:gd name="connsiteX15" fmla="*/ 0 w 3154361"/>
                <a:gd name="connsiteY15" fmla="*/ 1577180 h 3154361"/>
                <a:gd name="connsiteX16" fmla="*/ 350977 w 3154361"/>
                <a:gd name="connsiteY16" fmla="*/ 1780746 h 3154361"/>
                <a:gd name="connsiteX17" fmla="*/ 358181 w 3154361"/>
                <a:gd name="connsiteY17" fmla="*/ 1827946 h 3154361"/>
                <a:gd name="connsiteX18" fmla="*/ 1356922 w 3154361"/>
                <a:gd name="connsiteY18" fmla="*/ 2802025 h 3154361"/>
                <a:gd name="connsiteX19" fmla="*/ 1374159 w 3154361"/>
                <a:gd name="connsiteY19" fmla="*/ 2804324 h 315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54361" h="3154361">
                  <a:moveTo>
                    <a:pt x="1577181" y="3154361"/>
                  </a:moveTo>
                  <a:lnTo>
                    <a:pt x="1780203" y="2804324"/>
                  </a:lnTo>
                  <a:lnTo>
                    <a:pt x="1797438" y="2802025"/>
                  </a:lnTo>
                  <a:cubicBezTo>
                    <a:pt x="2297871" y="2712635"/>
                    <a:pt x="2694658" y="2324067"/>
                    <a:pt x="2796180" y="1827945"/>
                  </a:cubicBezTo>
                  <a:lnTo>
                    <a:pt x="2803383" y="1780748"/>
                  </a:lnTo>
                  <a:lnTo>
                    <a:pt x="3154361" y="1577181"/>
                  </a:lnTo>
                  <a:lnTo>
                    <a:pt x="2803383" y="1373614"/>
                  </a:lnTo>
                  <a:lnTo>
                    <a:pt x="2796180" y="1326414"/>
                  </a:lnTo>
                  <a:cubicBezTo>
                    <a:pt x="2694658" y="830292"/>
                    <a:pt x="2297871" y="441725"/>
                    <a:pt x="1797438" y="352335"/>
                  </a:cubicBezTo>
                  <a:lnTo>
                    <a:pt x="1780201" y="350035"/>
                  </a:lnTo>
                  <a:lnTo>
                    <a:pt x="1577181" y="0"/>
                  </a:lnTo>
                  <a:lnTo>
                    <a:pt x="1374161" y="350035"/>
                  </a:lnTo>
                  <a:lnTo>
                    <a:pt x="1356922" y="352335"/>
                  </a:lnTo>
                  <a:cubicBezTo>
                    <a:pt x="856490" y="441724"/>
                    <a:pt x="459702" y="830291"/>
                    <a:pt x="358181" y="1326414"/>
                  </a:cubicBezTo>
                  <a:lnTo>
                    <a:pt x="350977" y="1373613"/>
                  </a:lnTo>
                  <a:lnTo>
                    <a:pt x="0" y="1577180"/>
                  </a:lnTo>
                  <a:lnTo>
                    <a:pt x="350977" y="1780746"/>
                  </a:lnTo>
                  <a:lnTo>
                    <a:pt x="358181" y="1827946"/>
                  </a:lnTo>
                  <a:cubicBezTo>
                    <a:pt x="459702" y="2324067"/>
                    <a:pt x="856490" y="2712635"/>
                    <a:pt x="1356922" y="2802025"/>
                  </a:cubicBezTo>
                  <a:lnTo>
                    <a:pt x="1374159" y="2804324"/>
                  </a:lnTo>
                  <a:close/>
                </a:path>
              </a:pathLst>
            </a:custGeom>
            <a:noFill/>
            <a:ln w="19050">
              <a:solidFill>
                <a:srgbClr val="7F7F7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5B14B81-EA0D-481E-B812-0C4780A90B6F}"/>
                </a:ext>
              </a:extLst>
            </p:cNvPr>
            <p:cNvGrpSpPr/>
            <p:nvPr/>
          </p:nvGrpSpPr>
          <p:grpSpPr>
            <a:xfrm>
              <a:off x="4616061" y="2308738"/>
              <a:ext cx="319647" cy="319648"/>
              <a:chOff x="4548188" y="2235200"/>
              <a:chExt cx="425450" cy="425451"/>
            </a:xfrm>
            <a:solidFill>
              <a:schemeClr val="bg1"/>
            </a:solidFill>
            <a:effectLst/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7C855667-1645-4A2E-8BE9-A7E14DCF3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188" y="2235200"/>
                <a:ext cx="425450" cy="269875"/>
              </a:xfrm>
              <a:custGeom>
                <a:avLst/>
                <a:gdLst>
                  <a:gd name="T0" fmla="*/ 0 w 240"/>
                  <a:gd name="T1" fmla="*/ 0 h 152"/>
                  <a:gd name="T2" fmla="*/ 0 w 240"/>
                  <a:gd name="T3" fmla="*/ 124 h 152"/>
                  <a:gd name="T4" fmla="*/ 8 w 240"/>
                  <a:gd name="T5" fmla="*/ 111 h 152"/>
                  <a:gd name="T6" fmla="*/ 8 w 240"/>
                  <a:gd name="T7" fmla="*/ 8 h 152"/>
                  <a:gd name="T8" fmla="*/ 232 w 240"/>
                  <a:gd name="T9" fmla="*/ 8 h 152"/>
                  <a:gd name="T10" fmla="*/ 232 w 240"/>
                  <a:gd name="T11" fmla="*/ 144 h 152"/>
                  <a:gd name="T12" fmla="*/ 128 w 240"/>
                  <a:gd name="T13" fmla="*/ 144 h 152"/>
                  <a:gd name="T14" fmla="*/ 128 w 240"/>
                  <a:gd name="T15" fmla="*/ 152 h 152"/>
                  <a:gd name="T16" fmla="*/ 240 w 240"/>
                  <a:gd name="T17" fmla="*/ 152 h 152"/>
                  <a:gd name="T18" fmla="*/ 240 w 240"/>
                  <a:gd name="T19" fmla="*/ 0 h 152"/>
                  <a:gd name="T20" fmla="*/ 0 w 240"/>
                  <a:gd name="T21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0" h="152">
                    <a:moveTo>
                      <a:pt x="0" y="0"/>
                    </a:move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18"/>
                      <a:pt x="3" y="114"/>
                      <a:pt x="8" y="111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232" y="8"/>
                      <a:pt x="232" y="8"/>
                      <a:pt x="232" y="8"/>
                    </a:cubicBezTo>
                    <a:cubicBezTo>
                      <a:pt x="232" y="144"/>
                      <a:pt x="232" y="144"/>
                      <a:pt x="232" y="144"/>
                    </a:cubicBezTo>
                    <a:cubicBezTo>
                      <a:pt x="128" y="144"/>
                      <a:pt x="128" y="144"/>
                      <a:pt x="128" y="144"/>
                    </a:cubicBezTo>
                    <a:cubicBezTo>
                      <a:pt x="128" y="152"/>
                      <a:pt x="128" y="152"/>
                      <a:pt x="128" y="152"/>
                    </a:cubicBezTo>
                    <a:cubicBezTo>
                      <a:pt x="240" y="152"/>
                      <a:pt x="240" y="152"/>
                      <a:pt x="240" y="152"/>
                    </a:cubicBezTo>
                    <a:cubicBezTo>
                      <a:pt x="240" y="0"/>
                      <a:pt x="240" y="0"/>
                      <a:pt x="24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8E3AF429-6788-4B7E-898B-359A1CC8FC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1051" y="2278063"/>
                <a:ext cx="339725" cy="184150"/>
              </a:xfrm>
              <a:custGeom>
                <a:avLst/>
                <a:gdLst>
                  <a:gd name="T0" fmla="*/ 104 w 192"/>
                  <a:gd name="T1" fmla="*/ 104 h 104"/>
                  <a:gd name="T2" fmla="*/ 176 w 192"/>
                  <a:gd name="T3" fmla="*/ 104 h 104"/>
                  <a:gd name="T4" fmla="*/ 192 w 192"/>
                  <a:gd name="T5" fmla="*/ 88 h 104"/>
                  <a:gd name="T6" fmla="*/ 192 w 192"/>
                  <a:gd name="T7" fmla="*/ 16 h 104"/>
                  <a:gd name="T8" fmla="*/ 176 w 192"/>
                  <a:gd name="T9" fmla="*/ 0 h 104"/>
                  <a:gd name="T10" fmla="*/ 16 w 192"/>
                  <a:gd name="T11" fmla="*/ 0 h 104"/>
                  <a:gd name="T12" fmla="*/ 0 w 192"/>
                  <a:gd name="T13" fmla="*/ 16 h 104"/>
                  <a:gd name="T14" fmla="*/ 0 w 192"/>
                  <a:gd name="T15" fmla="*/ 80 h 104"/>
                  <a:gd name="T16" fmla="*/ 40 w 192"/>
                  <a:gd name="T17" fmla="*/ 76 h 104"/>
                  <a:gd name="T18" fmla="*/ 104 w 192"/>
                  <a:gd name="T19" fmla="*/ 100 h 104"/>
                  <a:gd name="T20" fmla="*/ 104 w 192"/>
                  <a:gd name="T21" fmla="*/ 104 h 104"/>
                  <a:gd name="T22" fmla="*/ 164 w 192"/>
                  <a:gd name="T23" fmla="*/ 64 h 104"/>
                  <a:gd name="T24" fmla="*/ 176 w 192"/>
                  <a:gd name="T25" fmla="*/ 76 h 104"/>
                  <a:gd name="T26" fmla="*/ 164 w 192"/>
                  <a:gd name="T27" fmla="*/ 88 h 104"/>
                  <a:gd name="T28" fmla="*/ 152 w 192"/>
                  <a:gd name="T29" fmla="*/ 76 h 104"/>
                  <a:gd name="T30" fmla="*/ 164 w 192"/>
                  <a:gd name="T31" fmla="*/ 64 h 104"/>
                  <a:gd name="T32" fmla="*/ 28 w 192"/>
                  <a:gd name="T33" fmla="*/ 40 h 104"/>
                  <a:gd name="T34" fmla="*/ 16 w 192"/>
                  <a:gd name="T35" fmla="*/ 28 h 104"/>
                  <a:gd name="T36" fmla="*/ 28 w 192"/>
                  <a:gd name="T37" fmla="*/ 16 h 104"/>
                  <a:gd name="T38" fmla="*/ 40 w 192"/>
                  <a:gd name="T39" fmla="*/ 28 h 104"/>
                  <a:gd name="T40" fmla="*/ 28 w 192"/>
                  <a:gd name="T41" fmla="*/ 40 h 104"/>
                  <a:gd name="T42" fmla="*/ 96 w 192"/>
                  <a:gd name="T43" fmla="*/ 76 h 104"/>
                  <a:gd name="T44" fmla="*/ 68 w 192"/>
                  <a:gd name="T45" fmla="*/ 48 h 104"/>
                  <a:gd name="T46" fmla="*/ 96 w 192"/>
                  <a:gd name="T47" fmla="*/ 20 h 104"/>
                  <a:gd name="T48" fmla="*/ 124 w 192"/>
                  <a:gd name="T49" fmla="*/ 48 h 104"/>
                  <a:gd name="T50" fmla="*/ 96 w 192"/>
                  <a:gd name="T51" fmla="*/ 7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92" h="104">
                    <a:moveTo>
                      <a:pt x="104" y="104"/>
                    </a:moveTo>
                    <a:cubicBezTo>
                      <a:pt x="176" y="104"/>
                      <a:pt x="176" y="104"/>
                      <a:pt x="176" y="104"/>
                    </a:cubicBezTo>
                    <a:cubicBezTo>
                      <a:pt x="185" y="104"/>
                      <a:pt x="192" y="97"/>
                      <a:pt x="192" y="88"/>
                    </a:cubicBezTo>
                    <a:cubicBezTo>
                      <a:pt x="192" y="16"/>
                      <a:pt x="192" y="16"/>
                      <a:pt x="192" y="16"/>
                    </a:cubicBezTo>
                    <a:cubicBezTo>
                      <a:pt x="192" y="7"/>
                      <a:pt x="185" y="0"/>
                      <a:pt x="17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16" y="76"/>
                      <a:pt x="34" y="76"/>
                      <a:pt x="40" y="76"/>
                    </a:cubicBezTo>
                    <a:cubicBezTo>
                      <a:pt x="51" y="76"/>
                      <a:pt x="104" y="77"/>
                      <a:pt x="104" y="100"/>
                    </a:cubicBezTo>
                    <a:lnTo>
                      <a:pt x="104" y="104"/>
                    </a:lnTo>
                    <a:close/>
                    <a:moveTo>
                      <a:pt x="164" y="64"/>
                    </a:moveTo>
                    <a:cubicBezTo>
                      <a:pt x="171" y="64"/>
                      <a:pt x="176" y="69"/>
                      <a:pt x="176" y="76"/>
                    </a:cubicBezTo>
                    <a:cubicBezTo>
                      <a:pt x="176" y="83"/>
                      <a:pt x="171" y="88"/>
                      <a:pt x="164" y="88"/>
                    </a:cubicBezTo>
                    <a:cubicBezTo>
                      <a:pt x="157" y="88"/>
                      <a:pt x="152" y="83"/>
                      <a:pt x="152" y="76"/>
                    </a:cubicBezTo>
                    <a:cubicBezTo>
                      <a:pt x="152" y="69"/>
                      <a:pt x="157" y="64"/>
                      <a:pt x="164" y="64"/>
                    </a:cubicBezTo>
                    <a:close/>
                    <a:moveTo>
                      <a:pt x="28" y="40"/>
                    </a:moveTo>
                    <a:cubicBezTo>
                      <a:pt x="21" y="40"/>
                      <a:pt x="16" y="35"/>
                      <a:pt x="16" y="28"/>
                    </a:cubicBezTo>
                    <a:cubicBezTo>
                      <a:pt x="16" y="21"/>
                      <a:pt x="21" y="16"/>
                      <a:pt x="28" y="16"/>
                    </a:cubicBezTo>
                    <a:cubicBezTo>
                      <a:pt x="35" y="16"/>
                      <a:pt x="40" y="21"/>
                      <a:pt x="40" y="28"/>
                    </a:cubicBezTo>
                    <a:cubicBezTo>
                      <a:pt x="40" y="35"/>
                      <a:pt x="35" y="40"/>
                      <a:pt x="28" y="40"/>
                    </a:cubicBezTo>
                    <a:close/>
                    <a:moveTo>
                      <a:pt x="96" y="76"/>
                    </a:moveTo>
                    <a:cubicBezTo>
                      <a:pt x="81" y="76"/>
                      <a:pt x="68" y="63"/>
                      <a:pt x="68" y="48"/>
                    </a:cubicBezTo>
                    <a:cubicBezTo>
                      <a:pt x="68" y="33"/>
                      <a:pt x="81" y="20"/>
                      <a:pt x="96" y="20"/>
                    </a:cubicBezTo>
                    <a:cubicBezTo>
                      <a:pt x="111" y="20"/>
                      <a:pt x="124" y="33"/>
                      <a:pt x="124" y="48"/>
                    </a:cubicBezTo>
                    <a:cubicBezTo>
                      <a:pt x="124" y="63"/>
                      <a:pt x="111" y="76"/>
                      <a:pt x="96" y="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842CE1-B295-4208-B83F-737A01B2B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611438"/>
                <a:ext cx="198438" cy="49213"/>
              </a:xfrm>
              <a:custGeom>
                <a:avLst/>
                <a:gdLst>
                  <a:gd name="T0" fmla="*/ 0 w 112"/>
                  <a:gd name="T1" fmla="*/ 0 h 28"/>
                  <a:gd name="T2" fmla="*/ 0 w 112"/>
                  <a:gd name="T3" fmla="*/ 12 h 28"/>
                  <a:gd name="T4" fmla="*/ 0 w 112"/>
                  <a:gd name="T5" fmla="*/ 14 h 28"/>
                  <a:gd name="T6" fmla="*/ 1 w 112"/>
                  <a:gd name="T7" fmla="*/ 15 h 28"/>
                  <a:gd name="T8" fmla="*/ 1 w 112"/>
                  <a:gd name="T9" fmla="*/ 16 h 28"/>
                  <a:gd name="T10" fmla="*/ 3 w 112"/>
                  <a:gd name="T11" fmla="*/ 17 h 28"/>
                  <a:gd name="T12" fmla="*/ 3 w 112"/>
                  <a:gd name="T13" fmla="*/ 18 h 28"/>
                  <a:gd name="T14" fmla="*/ 8 w 112"/>
                  <a:gd name="T15" fmla="*/ 21 h 28"/>
                  <a:gd name="T16" fmla="*/ 8 w 112"/>
                  <a:gd name="T17" fmla="*/ 21 h 28"/>
                  <a:gd name="T18" fmla="*/ 11 w 112"/>
                  <a:gd name="T19" fmla="*/ 22 h 28"/>
                  <a:gd name="T20" fmla="*/ 12 w 112"/>
                  <a:gd name="T21" fmla="*/ 22 h 28"/>
                  <a:gd name="T22" fmla="*/ 14 w 112"/>
                  <a:gd name="T23" fmla="*/ 23 h 28"/>
                  <a:gd name="T24" fmla="*/ 16 w 112"/>
                  <a:gd name="T25" fmla="*/ 23 h 28"/>
                  <a:gd name="T26" fmla="*/ 18 w 112"/>
                  <a:gd name="T27" fmla="*/ 24 h 28"/>
                  <a:gd name="T28" fmla="*/ 52 w 112"/>
                  <a:gd name="T29" fmla="*/ 28 h 28"/>
                  <a:gd name="T30" fmla="*/ 56 w 112"/>
                  <a:gd name="T31" fmla="*/ 28 h 28"/>
                  <a:gd name="T32" fmla="*/ 60 w 112"/>
                  <a:gd name="T33" fmla="*/ 28 h 28"/>
                  <a:gd name="T34" fmla="*/ 94 w 112"/>
                  <a:gd name="T35" fmla="*/ 24 h 28"/>
                  <a:gd name="T36" fmla="*/ 96 w 112"/>
                  <a:gd name="T37" fmla="*/ 23 h 28"/>
                  <a:gd name="T38" fmla="*/ 98 w 112"/>
                  <a:gd name="T39" fmla="*/ 23 h 28"/>
                  <a:gd name="T40" fmla="*/ 100 w 112"/>
                  <a:gd name="T41" fmla="*/ 22 h 28"/>
                  <a:gd name="T42" fmla="*/ 101 w 112"/>
                  <a:gd name="T43" fmla="*/ 22 h 28"/>
                  <a:gd name="T44" fmla="*/ 104 w 112"/>
                  <a:gd name="T45" fmla="*/ 21 h 28"/>
                  <a:gd name="T46" fmla="*/ 104 w 112"/>
                  <a:gd name="T47" fmla="*/ 21 h 28"/>
                  <a:gd name="T48" fmla="*/ 109 w 112"/>
                  <a:gd name="T49" fmla="*/ 18 h 28"/>
                  <a:gd name="T50" fmla="*/ 109 w 112"/>
                  <a:gd name="T51" fmla="*/ 17 h 28"/>
                  <a:gd name="T52" fmla="*/ 111 w 112"/>
                  <a:gd name="T53" fmla="*/ 16 h 28"/>
                  <a:gd name="T54" fmla="*/ 111 w 112"/>
                  <a:gd name="T55" fmla="*/ 15 h 28"/>
                  <a:gd name="T56" fmla="*/ 112 w 112"/>
                  <a:gd name="T57" fmla="*/ 14 h 28"/>
                  <a:gd name="T58" fmla="*/ 112 w 112"/>
                  <a:gd name="T59" fmla="*/ 12 h 28"/>
                  <a:gd name="T60" fmla="*/ 112 w 112"/>
                  <a:gd name="T61" fmla="*/ 0 h 28"/>
                  <a:gd name="T62" fmla="*/ 56 w 112"/>
                  <a:gd name="T63" fmla="*/ 8 h 28"/>
                  <a:gd name="T64" fmla="*/ 0 w 112"/>
                  <a:gd name="T6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2" h="28">
                    <a:moveTo>
                      <a:pt x="0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3"/>
                      <a:pt x="0" y="13"/>
                      <a:pt x="0" y="1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2" y="16"/>
                      <a:pt x="2" y="17"/>
                      <a:pt x="3" y="17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5" y="19"/>
                      <a:pt x="6" y="20"/>
                      <a:pt x="8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9" y="21"/>
                      <a:pt x="10" y="21"/>
                      <a:pt x="11" y="22"/>
                    </a:cubicBezTo>
                    <a:cubicBezTo>
                      <a:pt x="11" y="22"/>
                      <a:pt x="12" y="22"/>
                      <a:pt x="12" y="22"/>
                    </a:cubicBezTo>
                    <a:cubicBezTo>
                      <a:pt x="13" y="22"/>
                      <a:pt x="13" y="23"/>
                      <a:pt x="14" y="23"/>
                    </a:cubicBezTo>
                    <a:cubicBezTo>
                      <a:pt x="15" y="23"/>
                      <a:pt x="16" y="23"/>
                      <a:pt x="16" y="23"/>
                    </a:cubicBezTo>
                    <a:cubicBezTo>
                      <a:pt x="17" y="23"/>
                      <a:pt x="17" y="24"/>
                      <a:pt x="18" y="24"/>
                    </a:cubicBezTo>
                    <a:cubicBezTo>
                      <a:pt x="28" y="26"/>
                      <a:pt x="42" y="28"/>
                      <a:pt x="52" y="28"/>
                    </a:cubicBezTo>
                    <a:cubicBezTo>
                      <a:pt x="54" y="28"/>
                      <a:pt x="55" y="28"/>
                      <a:pt x="56" y="28"/>
                    </a:cubicBezTo>
                    <a:cubicBezTo>
                      <a:pt x="57" y="28"/>
                      <a:pt x="58" y="28"/>
                      <a:pt x="60" y="28"/>
                    </a:cubicBezTo>
                    <a:cubicBezTo>
                      <a:pt x="70" y="28"/>
                      <a:pt x="84" y="26"/>
                      <a:pt x="94" y="24"/>
                    </a:cubicBezTo>
                    <a:cubicBezTo>
                      <a:pt x="95" y="24"/>
                      <a:pt x="95" y="23"/>
                      <a:pt x="96" y="23"/>
                    </a:cubicBezTo>
                    <a:cubicBezTo>
                      <a:pt x="96" y="23"/>
                      <a:pt x="97" y="23"/>
                      <a:pt x="98" y="23"/>
                    </a:cubicBezTo>
                    <a:cubicBezTo>
                      <a:pt x="99" y="23"/>
                      <a:pt x="99" y="22"/>
                      <a:pt x="100" y="22"/>
                    </a:cubicBezTo>
                    <a:cubicBezTo>
                      <a:pt x="100" y="22"/>
                      <a:pt x="101" y="22"/>
                      <a:pt x="101" y="22"/>
                    </a:cubicBezTo>
                    <a:cubicBezTo>
                      <a:pt x="102" y="21"/>
                      <a:pt x="103" y="21"/>
                      <a:pt x="104" y="21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06" y="20"/>
                      <a:pt x="107" y="19"/>
                      <a:pt x="109" y="18"/>
                    </a:cubicBezTo>
                    <a:cubicBezTo>
                      <a:pt x="109" y="18"/>
                      <a:pt x="109" y="18"/>
                      <a:pt x="109" y="17"/>
                    </a:cubicBezTo>
                    <a:cubicBezTo>
                      <a:pt x="110" y="17"/>
                      <a:pt x="110" y="16"/>
                      <a:pt x="111" y="16"/>
                    </a:cubicBezTo>
                    <a:cubicBezTo>
                      <a:pt x="111" y="16"/>
                      <a:pt x="111" y="16"/>
                      <a:pt x="111" y="15"/>
                    </a:cubicBezTo>
                    <a:cubicBezTo>
                      <a:pt x="111" y="15"/>
                      <a:pt x="111" y="15"/>
                      <a:pt x="112" y="14"/>
                    </a:cubicBezTo>
                    <a:cubicBezTo>
                      <a:pt x="112" y="13"/>
                      <a:pt x="112" y="13"/>
                      <a:pt x="112" y="12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CAA0E311-D747-4C40-9238-B163BFDDE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427288"/>
                <a:ext cx="198438" cy="41275"/>
              </a:xfrm>
              <a:custGeom>
                <a:avLst/>
                <a:gdLst>
                  <a:gd name="T0" fmla="*/ 112 w 112"/>
                  <a:gd name="T1" fmla="*/ 15 h 24"/>
                  <a:gd name="T2" fmla="*/ 56 w 112"/>
                  <a:gd name="T3" fmla="*/ 0 h 24"/>
                  <a:gd name="T4" fmla="*/ 16 w 112"/>
                  <a:gd name="T5" fmla="*/ 5 h 24"/>
                  <a:gd name="T6" fmla="*/ 16 w 112"/>
                  <a:gd name="T7" fmla="*/ 5 h 24"/>
                  <a:gd name="T8" fmla="*/ 14 w 112"/>
                  <a:gd name="T9" fmla="*/ 5 h 24"/>
                  <a:gd name="T10" fmla="*/ 12 w 112"/>
                  <a:gd name="T11" fmla="*/ 6 h 24"/>
                  <a:gd name="T12" fmla="*/ 11 w 112"/>
                  <a:gd name="T13" fmla="*/ 6 h 24"/>
                  <a:gd name="T14" fmla="*/ 8 w 112"/>
                  <a:gd name="T15" fmla="*/ 7 h 24"/>
                  <a:gd name="T16" fmla="*/ 8 w 112"/>
                  <a:gd name="T17" fmla="*/ 7 h 24"/>
                  <a:gd name="T18" fmla="*/ 3 w 112"/>
                  <a:gd name="T19" fmla="*/ 10 h 24"/>
                  <a:gd name="T20" fmla="*/ 3 w 112"/>
                  <a:gd name="T21" fmla="*/ 11 h 24"/>
                  <a:gd name="T22" fmla="*/ 1 w 112"/>
                  <a:gd name="T23" fmla="*/ 12 h 24"/>
                  <a:gd name="T24" fmla="*/ 1 w 112"/>
                  <a:gd name="T25" fmla="*/ 13 h 24"/>
                  <a:gd name="T26" fmla="*/ 0 w 112"/>
                  <a:gd name="T27" fmla="*/ 14 h 24"/>
                  <a:gd name="T28" fmla="*/ 0 w 112"/>
                  <a:gd name="T29" fmla="*/ 15 h 24"/>
                  <a:gd name="T30" fmla="*/ 56 w 112"/>
                  <a:gd name="T31" fmla="*/ 24 h 24"/>
                  <a:gd name="T32" fmla="*/ 112 w 112"/>
                  <a:gd name="T33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24">
                    <a:moveTo>
                      <a:pt x="112" y="15"/>
                    </a:moveTo>
                    <a:cubicBezTo>
                      <a:pt x="111" y="5"/>
                      <a:pt x="79" y="0"/>
                      <a:pt x="56" y="0"/>
                    </a:cubicBezTo>
                    <a:cubicBezTo>
                      <a:pt x="43" y="0"/>
                      <a:pt x="28" y="2"/>
                      <a:pt x="16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5"/>
                      <a:pt x="15" y="5"/>
                      <a:pt x="14" y="5"/>
                    </a:cubicBezTo>
                    <a:cubicBezTo>
                      <a:pt x="13" y="5"/>
                      <a:pt x="13" y="6"/>
                      <a:pt x="12" y="6"/>
                    </a:cubicBezTo>
                    <a:cubicBezTo>
                      <a:pt x="12" y="6"/>
                      <a:pt x="11" y="6"/>
                      <a:pt x="11" y="6"/>
                    </a:cubicBezTo>
                    <a:cubicBezTo>
                      <a:pt x="10" y="7"/>
                      <a:pt x="9" y="7"/>
                      <a:pt x="8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6" y="8"/>
                      <a:pt x="5" y="9"/>
                      <a:pt x="3" y="10"/>
                    </a:cubicBezTo>
                    <a:cubicBezTo>
                      <a:pt x="3" y="10"/>
                      <a:pt x="3" y="10"/>
                      <a:pt x="3" y="11"/>
                    </a:cubicBezTo>
                    <a:cubicBezTo>
                      <a:pt x="2" y="11"/>
                      <a:pt x="2" y="12"/>
                      <a:pt x="1" y="12"/>
                    </a:cubicBezTo>
                    <a:cubicBezTo>
                      <a:pt x="1" y="12"/>
                      <a:pt x="1" y="12"/>
                      <a:pt x="1" y="13"/>
                    </a:cubicBezTo>
                    <a:cubicBezTo>
                      <a:pt x="1" y="13"/>
                      <a:pt x="1" y="13"/>
                      <a:pt x="0" y="14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4" y="18"/>
                      <a:pt x="26" y="24"/>
                      <a:pt x="56" y="24"/>
                    </a:cubicBezTo>
                    <a:cubicBezTo>
                      <a:pt x="86" y="24"/>
                      <a:pt x="108" y="18"/>
                      <a:pt x="11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0B38ADD3-E432-4561-A6D0-155446647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468563"/>
                <a:ext cx="198438" cy="36513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B63814C6-5F18-46EC-A9D8-781111343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574925"/>
                <a:ext cx="198438" cy="36513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7C0363F1-84EE-453F-9BAC-D14149D0C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540000"/>
                <a:ext cx="198438" cy="34925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129A06B7-4EEA-470A-8634-B6C9CCA5E3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505075"/>
                <a:ext cx="198438" cy="34925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1F0C3E4-82DC-427C-862D-E5CA52F96DA5}"/>
                </a:ext>
              </a:extLst>
            </p:cNvPr>
            <p:cNvGrpSpPr/>
            <p:nvPr/>
          </p:nvGrpSpPr>
          <p:grpSpPr>
            <a:xfrm>
              <a:off x="7226215" y="2290668"/>
              <a:ext cx="335153" cy="335153"/>
              <a:chOff x="7216775" y="2235200"/>
              <a:chExt cx="446088" cy="446088"/>
            </a:xfrm>
            <a:solidFill>
              <a:schemeClr val="bg1"/>
            </a:solidFill>
            <a:effectLst/>
          </p:grpSpPr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D0F717E4-893B-4BC2-A438-FCF81AAF2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6775" y="2384425"/>
                <a:ext cx="446088" cy="296863"/>
              </a:xfrm>
              <a:custGeom>
                <a:avLst/>
                <a:gdLst>
                  <a:gd name="T0" fmla="*/ 236 w 240"/>
                  <a:gd name="T1" fmla="*/ 152 h 160"/>
                  <a:gd name="T2" fmla="*/ 224 w 240"/>
                  <a:gd name="T3" fmla="*/ 152 h 160"/>
                  <a:gd name="T4" fmla="*/ 224 w 240"/>
                  <a:gd name="T5" fmla="*/ 4 h 160"/>
                  <a:gd name="T6" fmla="*/ 220 w 240"/>
                  <a:gd name="T7" fmla="*/ 0 h 160"/>
                  <a:gd name="T8" fmla="*/ 188 w 240"/>
                  <a:gd name="T9" fmla="*/ 0 h 160"/>
                  <a:gd name="T10" fmla="*/ 184 w 240"/>
                  <a:gd name="T11" fmla="*/ 4 h 160"/>
                  <a:gd name="T12" fmla="*/ 184 w 240"/>
                  <a:gd name="T13" fmla="*/ 152 h 160"/>
                  <a:gd name="T14" fmla="*/ 168 w 240"/>
                  <a:gd name="T15" fmla="*/ 152 h 160"/>
                  <a:gd name="T16" fmla="*/ 168 w 240"/>
                  <a:gd name="T17" fmla="*/ 76 h 160"/>
                  <a:gd name="T18" fmla="*/ 164 w 240"/>
                  <a:gd name="T19" fmla="*/ 72 h 160"/>
                  <a:gd name="T20" fmla="*/ 132 w 240"/>
                  <a:gd name="T21" fmla="*/ 72 h 160"/>
                  <a:gd name="T22" fmla="*/ 128 w 240"/>
                  <a:gd name="T23" fmla="*/ 76 h 160"/>
                  <a:gd name="T24" fmla="*/ 128 w 240"/>
                  <a:gd name="T25" fmla="*/ 152 h 160"/>
                  <a:gd name="T26" fmla="*/ 112 w 240"/>
                  <a:gd name="T27" fmla="*/ 152 h 160"/>
                  <a:gd name="T28" fmla="*/ 112 w 240"/>
                  <a:gd name="T29" fmla="*/ 52 h 160"/>
                  <a:gd name="T30" fmla="*/ 108 w 240"/>
                  <a:gd name="T31" fmla="*/ 48 h 160"/>
                  <a:gd name="T32" fmla="*/ 76 w 240"/>
                  <a:gd name="T33" fmla="*/ 48 h 160"/>
                  <a:gd name="T34" fmla="*/ 72 w 240"/>
                  <a:gd name="T35" fmla="*/ 52 h 160"/>
                  <a:gd name="T36" fmla="*/ 72 w 240"/>
                  <a:gd name="T37" fmla="*/ 152 h 160"/>
                  <a:gd name="T38" fmla="*/ 56 w 240"/>
                  <a:gd name="T39" fmla="*/ 152 h 160"/>
                  <a:gd name="T40" fmla="*/ 56 w 240"/>
                  <a:gd name="T41" fmla="*/ 108 h 160"/>
                  <a:gd name="T42" fmla="*/ 52 w 240"/>
                  <a:gd name="T43" fmla="*/ 104 h 160"/>
                  <a:gd name="T44" fmla="*/ 20 w 240"/>
                  <a:gd name="T45" fmla="*/ 104 h 160"/>
                  <a:gd name="T46" fmla="*/ 16 w 240"/>
                  <a:gd name="T47" fmla="*/ 108 h 160"/>
                  <a:gd name="T48" fmla="*/ 16 w 240"/>
                  <a:gd name="T49" fmla="*/ 152 h 160"/>
                  <a:gd name="T50" fmla="*/ 4 w 240"/>
                  <a:gd name="T51" fmla="*/ 152 h 160"/>
                  <a:gd name="T52" fmla="*/ 0 w 240"/>
                  <a:gd name="T53" fmla="*/ 156 h 160"/>
                  <a:gd name="T54" fmla="*/ 4 w 240"/>
                  <a:gd name="T55" fmla="*/ 160 h 160"/>
                  <a:gd name="T56" fmla="*/ 20 w 240"/>
                  <a:gd name="T57" fmla="*/ 160 h 160"/>
                  <a:gd name="T58" fmla="*/ 52 w 240"/>
                  <a:gd name="T59" fmla="*/ 160 h 160"/>
                  <a:gd name="T60" fmla="*/ 76 w 240"/>
                  <a:gd name="T61" fmla="*/ 160 h 160"/>
                  <a:gd name="T62" fmla="*/ 108 w 240"/>
                  <a:gd name="T63" fmla="*/ 160 h 160"/>
                  <a:gd name="T64" fmla="*/ 132 w 240"/>
                  <a:gd name="T65" fmla="*/ 160 h 160"/>
                  <a:gd name="T66" fmla="*/ 164 w 240"/>
                  <a:gd name="T67" fmla="*/ 160 h 160"/>
                  <a:gd name="T68" fmla="*/ 188 w 240"/>
                  <a:gd name="T69" fmla="*/ 160 h 160"/>
                  <a:gd name="T70" fmla="*/ 220 w 240"/>
                  <a:gd name="T71" fmla="*/ 160 h 160"/>
                  <a:gd name="T72" fmla="*/ 236 w 240"/>
                  <a:gd name="T73" fmla="*/ 160 h 160"/>
                  <a:gd name="T74" fmla="*/ 240 w 240"/>
                  <a:gd name="T75" fmla="*/ 156 h 160"/>
                  <a:gd name="T76" fmla="*/ 236 w 240"/>
                  <a:gd name="T77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40" h="160">
                    <a:moveTo>
                      <a:pt x="236" y="152"/>
                    </a:move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4" y="4"/>
                      <a:pt x="224" y="4"/>
                      <a:pt x="224" y="4"/>
                    </a:cubicBezTo>
                    <a:cubicBezTo>
                      <a:pt x="224" y="2"/>
                      <a:pt x="222" y="0"/>
                      <a:pt x="220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6" y="0"/>
                      <a:pt x="184" y="2"/>
                      <a:pt x="184" y="4"/>
                    </a:cubicBezTo>
                    <a:cubicBezTo>
                      <a:pt x="184" y="152"/>
                      <a:pt x="184" y="152"/>
                      <a:pt x="184" y="152"/>
                    </a:cubicBezTo>
                    <a:cubicBezTo>
                      <a:pt x="168" y="152"/>
                      <a:pt x="168" y="152"/>
                      <a:pt x="168" y="152"/>
                    </a:cubicBezTo>
                    <a:cubicBezTo>
                      <a:pt x="168" y="76"/>
                      <a:pt x="168" y="76"/>
                      <a:pt x="168" y="76"/>
                    </a:cubicBezTo>
                    <a:cubicBezTo>
                      <a:pt x="168" y="74"/>
                      <a:pt x="166" y="72"/>
                      <a:pt x="164" y="72"/>
                    </a:cubicBezTo>
                    <a:cubicBezTo>
                      <a:pt x="132" y="72"/>
                      <a:pt x="132" y="72"/>
                      <a:pt x="132" y="72"/>
                    </a:cubicBezTo>
                    <a:cubicBezTo>
                      <a:pt x="130" y="72"/>
                      <a:pt x="128" y="74"/>
                      <a:pt x="128" y="76"/>
                    </a:cubicBezTo>
                    <a:cubicBezTo>
                      <a:pt x="128" y="152"/>
                      <a:pt x="128" y="152"/>
                      <a:pt x="128" y="152"/>
                    </a:cubicBez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2" y="50"/>
                      <a:pt x="110" y="48"/>
                      <a:pt x="108" y="48"/>
                    </a:cubicBezTo>
                    <a:cubicBezTo>
                      <a:pt x="76" y="48"/>
                      <a:pt x="76" y="48"/>
                      <a:pt x="76" y="48"/>
                    </a:cubicBezTo>
                    <a:cubicBezTo>
                      <a:pt x="74" y="48"/>
                      <a:pt x="72" y="50"/>
                      <a:pt x="72" y="52"/>
                    </a:cubicBezTo>
                    <a:cubicBezTo>
                      <a:pt x="72" y="152"/>
                      <a:pt x="72" y="152"/>
                      <a:pt x="72" y="152"/>
                    </a:cubicBezTo>
                    <a:cubicBezTo>
                      <a:pt x="56" y="152"/>
                      <a:pt x="56" y="152"/>
                      <a:pt x="56" y="152"/>
                    </a:cubicBezTo>
                    <a:cubicBezTo>
                      <a:pt x="56" y="108"/>
                      <a:pt x="56" y="108"/>
                      <a:pt x="56" y="108"/>
                    </a:cubicBezTo>
                    <a:cubicBezTo>
                      <a:pt x="56" y="106"/>
                      <a:pt x="54" y="104"/>
                      <a:pt x="52" y="104"/>
                    </a:cubicBezTo>
                    <a:cubicBezTo>
                      <a:pt x="20" y="104"/>
                      <a:pt x="20" y="104"/>
                      <a:pt x="20" y="104"/>
                    </a:cubicBezTo>
                    <a:cubicBezTo>
                      <a:pt x="18" y="104"/>
                      <a:pt x="16" y="106"/>
                      <a:pt x="16" y="108"/>
                    </a:cubicBezTo>
                    <a:cubicBezTo>
                      <a:pt x="16" y="152"/>
                      <a:pt x="16" y="152"/>
                      <a:pt x="16" y="152"/>
                    </a:cubicBezTo>
                    <a:cubicBezTo>
                      <a:pt x="4" y="152"/>
                      <a:pt x="4" y="152"/>
                      <a:pt x="4" y="152"/>
                    </a:cubicBezTo>
                    <a:cubicBezTo>
                      <a:pt x="2" y="152"/>
                      <a:pt x="0" y="154"/>
                      <a:pt x="0" y="156"/>
                    </a:cubicBezTo>
                    <a:cubicBezTo>
                      <a:pt x="0" y="158"/>
                      <a:pt x="2" y="160"/>
                      <a:pt x="4" y="160"/>
                    </a:cubicBezTo>
                    <a:cubicBezTo>
                      <a:pt x="20" y="160"/>
                      <a:pt x="20" y="160"/>
                      <a:pt x="20" y="160"/>
                    </a:cubicBezTo>
                    <a:cubicBezTo>
                      <a:pt x="52" y="160"/>
                      <a:pt x="52" y="160"/>
                      <a:pt x="52" y="160"/>
                    </a:cubicBezTo>
                    <a:cubicBezTo>
                      <a:pt x="76" y="160"/>
                      <a:pt x="76" y="160"/>
                      <a:pt x="76" y="160"/>
                    </a:cubicBezTo>
                    <a:cubicBezTo>
                      <a:pt x="108" y="160"/>
                      <a:pt x="108" y="160"/>
                      <a:pt x="108" y="160"/>
                    </a:cubicBezTo>
                    <a:cubicBezTo>
                      <a:pt x="132" y="160"/>
                      <a:pt x="132" y="160"/>
                      <a:pt x="132" y="160"/>
                    </a:cubicBezTo>
                    <a:cubicBezTo>
                      <a:pt x="164" y="160"/>
                      <a:pt x="164" y="160"/>
                      <a:pt x="164" y="160"/>
                    </a:cubicBezTo>
                    <a:cubicBezTo>
                      <a:pt x="188" y="160"/>
                      <a:pt x="188" y="160"/>
                      <a:pt x="188" y="160"/>
                    </a:cubicBezTo>
                    <a:cubicBezTo>
                      <a:pt x="220" y="160"/>
                      <a:pt x="220" y="160"/>
                      <a:pt x="220" y="160"/>
                    </a:cubicBezTo>
                    <a:cubicBezTo>
                      <a:pt x="236" y="160"/>
                      <a:pt x="236" y="160"/>
                      <a:pt x="236" y="160"/>
                    </a:cubicBezTo>
                    <a:cubicBezTo>
                      <a:pt x="238" y="160"/>
                      <a:pt x="240" y="158"/>
                      <a:pt x="240" y="156"/>
                    </a:cubicBezTo>
                    <a:cubicBezTo>
                      <a:pt x="240" y="154"/>
                      <a:pt x="238" y="152"/>
                      <a:pt x="236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7">
                <a:extLst>
                  <a:ext uri="{FF2B5EF4-FFF2-40B4-BE49-F238E27FC236}">
                    <a16:creationId xmlns:a16="http://schemas.microsoft.com/office/drawing/2014/main" id="{061A6E45-BB1D-4A8A-961A-6B52A2FBF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6938" y="2235200"/>
                <a:ext cx="393700" cy="246063"/>
              </a:xfrm>
              <a:custGeom>
                <a:avLst/>
                <a:gdLst>
                  <a:gd name="T0" fmla="*/ 16 w 212"/>
                  <a:gd name="T1" fmla="*/ 132 h 132"/>
                  <a:gd name="T2" fmla="*/ 32 w 212"/>
                  <a:gd name="T3" fmla="*/ 116 h 132"/>
                  <a:gd name="T4" fmla="*/ 30 w 212"/>
                  <a:gd name="T5" fmla="*/ 109 h 132"/>
                  <a:gd name="T6" fmla="*/ 67 w 212"/>
                  <a:gd name="T7" fmla="*/ 77 h 132"/>
                  <a:gd name="T8" fmla="*/ 76 w 212"/>
                  <a:gd name="T9" fmla="*/ 80 h 132"/>
                  <a:gd name="T10" fmla="*/ 89 w 212"/>
                  <a:gd name="T11" fmla="*/ 73 h 132"/>
                  <a:gd name="T12" fmla="*/ 120 w 212"/>
                  <a:gd name="T13" fmla="*/ 86 h 132"/>
                  <a:gd name="T14" fmla="*/ 120 w 212"/>
                  <a:gd name="T15" fmla="*/ 88 h 132"/>
                  <a:gd name="T16" fmla="*/ 136 w 212"/>
                  <a:gd name="T17" fmla="*/ 104 h 132"/>
                  <a:gd name="T18" fmla="*/ 152 w 212"/>
                  <a:gd name="T19" fmla="*/ 88 h 132"/>
                  <a:gd name="T20" fmla="*/ 149 w 212"/>
                  <a:gd name="T21" fmla="*/ 79 h 132"/>
                  <a:gd name="T22" fmla="*/ 189 w 212"/>
                  <a:gd name="T23" fmla="*/ 30 h 132"/>
                  <a:gd name="T24" fmla="*/ 196 w 212"/>
                  <a:gd name="T25" fmla="*/ 32 h 132"/>
                  <a:gd name="T26" fmla="*/ 212 w 212"/>
                  <a:gd name="T27" fmla="*/ 16 h 132"/>
                  <a:gd name="T28" fmla="*/ 196 w 212"/>
                  <a:gd name="T29" fmla="*/ 0 h 132"/>
                  <a:gd name="T30" fmla="*/ 180 w 212"/>
                  <a:gd name="T31" fmla="*/ 16 h 132"/>
                  <a:gd name="T32" fmla="*/ 183 w 212"/>
                  <a:gd name="T33" fmla="*/ 25 h 132"/>
                  <a:gd name="T34" fmla="*/ 143 w 212"/>
                  <a:gd name="T35" fmla="*/ 74 h 132"/>
                  <a:gd name="T36" fmla="*/ 136 w 212"/>
                  <a:gd name="T37" fmla="*/ 72 h 132"/>
                  <a:gd name="T38" fmla="*/ 123 w 212"/>
                  <a:gd name="T39" fmla="*/ 79 h 132"/>
                  <a:gd name="T40" fmla="*/ 92 w 212"/>
                  <a:gd name="T41" fmla="*/ 66 h 132"/>
                  <a:gd name="T42" fmla="*/ 92 w 212"/>
                  <a:gd name="T43" fmla="*/ 64 h 132"/>
                  <a:gd name="T44" fmla="*/ 76 w 212"/>
                  <a:gd name="T45" fmla="*/ 48 h 132"/>
                  <a:gd name="T46" fmla="*/ 60 w 212"/>
                  <a:gd name="T47" fmla="*/ 64 h 132"/>
                  <a:gd name="T48" fmla="*/ 62 w 212"/>
                  <a:gd name="T49" fmla="*/ 71 h 132"/>
                  <a:gd name="T50" fmla="*/ 25 w 212"/>
                  <a:gd name="T51" fmla="*/ 103 h 132"/>
                  <a:gd name="T52" fmla="*/ 16 w 212"/>
                  <a:gd name="T53" fmla="*/ 100 h 132"/>
                  <a:gd name="T54" fmla="*/ 0 w 212"/>
                  <a:gd name="T55" fmla="*/ 116 h 132"/>
                  <a:gd name="T56" fmla="*/ 16 w 212"/>
                  <a:gd name="T5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2" h="132">
                    <a:moveTo>
                      <a:pt x="16" y="132"/>
                    </a:moveTo>
                    <a:cubicBezTo>
                      <a:pt x="25" y="132"/>
                      <a:pt x="32" y="125"/>
                      <a:pt x="32" y="116"/>
                    </a:cubicBezTo>
                    <a:cubicBezTo>
                      <a:pt x="32" y="113"/>
                      <a:pt x="31" y="111"/>
                      <a:pt x="30" y="109"/>
                    </a:cubicBezTo>
                    <a:cubicBezTo>
                      <a:pt x="67" y="77"/>
                      <a:pt x="67" y="77"/>
                      <a:pt x="67" y="77"/>
                    </a:cubicBezTo>
                    <a:cubicBezTo>
                      <a:pt x="70" y="79"/>
                      <a:pt x="73" y="80"/>
                      <a:pt x="76" y="80"/>
                    </a:cubicBezTo>
                    <a:cubicBezTo>
                      <a:pt x="81" y="80"/>
                      <a:pt x="86" y="77"/>
                      <a:pt x="89" y="73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20" y="87"/>
                      <a:pt x="120" y="87"/>
                      <a:pt x="120" y="88"/>
                    </a:cubicBezTo>
                    <a:cubicBezTo>
                      <a:pt x="120" y="97"/>
                      <a:pt x="127" y="104"/>
                      <a:pt x="136" y="104"/>
                    </a:cubicBezTo>
                    <a:cubicBezTo>
                      <a:pt x="145" y="104"/>
                      <a:pt x="152" y="97"/>
                      <a:pt x="152" y="88"/>
                    </a:cubicBezTo>
                    <a:cubicBezTo>
                      <a:pt x="152" y="85"/>
                      <a:pt x="151" y="81"/>
                      <a:pt x="149" y="79"/>
                    </a:cubicBezTo>
                    <a:cubicBezTo>
                      <a:pt x="189" y="30"/>
                      <a:pt x="189" y="30"/>
                      <a:pt x="189" y="30"/>
                    </a:cubicBezTo>
                    <a:cubicBezTo>
                      <a:pt x="191" y="31"/>
                      <a:pt x="194" y="32"/>
                      <a:pt x="196" y="32"/>
                    </a:cubicBezTo>
                    <a:cubicBezTo>
                      <a:pt x="205" y="32"/>
                      <a:pt x="212" y="25"/>
                      <a:pt x="212" y="16"/>
                    </a:cubicBezTo>
                    <a:cubicBezTo>
                      <a:pt x="212" y="7"/>
                      <a:pt x="205" y="0"/>
                      <a:pt x="196" y="0"/>
                    </a:cubicBezTo>
                    <a:cubicBezTo>
                      <a:pt x="187" y="0"/>
                      <a:pt x="180" y="7"/>
                      <a:pt x="180" y="16"/>
                    </a:cubicBezTo>
                    <a:cubicBezTo>
                      <a:pt x="180" y="19"/>
                      <a:pt x="181" y="23"/>
                      <a:pt x="183" y="25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1" y="73"/>
                      <a:pt x="138" y="72"/>
                      <a:pt x="136" y="72"/>
                    </a:cubicBezTo>
                    <a:cubicBezTo>
                      <a:pt x="131" y="72"/>
                      <a:pt x="126" y="75"/>
                      <a:pt x="123" y="79"/>
                    </a:cubicBezTo>
                    <a:cubicBezTo>
                      <a:pt x="92" y="66"/>
                      <a:pt x="92" y="66"/>
                      <a:pt x="92" y="66"/>
                    </a:cubicBezTo>
                    <a:cubicBezTo>
                      <a:pt x="92" y="65"/>
                      <a:pt x="92" y="65"/>
                      <a:pt x="92" y="64"/>
                    </a:cubicBezTo>
                    <a:cubicBezTo>
                      <a:pt x="92" y="55"/>
                      <a:pt x="85" y="48"/>
                      <a:pt x="76" y="48"/>
                    </a:cubicBezTo>
                    <a:cubicBezTo>
                      <a:pt x="67" y="48"/>
                      <a:pt x="60" y="55"/>
                      <a:pt x="60" y="64"/>
                    </a:cubicBezTo>
                    <a:cubicBezTo>
                      <a:pt x="60" y="67"/>
                      <a:pt x="61" y="69"/>
                      <a:pt x="62" y="71"/>
                    </a:cubicBezTo>
                    <a:cubicBezTo>
                      <a:pt x="25" y="103"/>
                      <a:pt x="25" y="103"/>
                      <a:pt x="25" y="103"/>
                    </a:cubicBezTo>
                    <a:cubicBezTo>
                      <a:pt x="22" y="101"/>
                      <a:pt x="19" y="100"/>
                      <a:pt x="16" y="100"/>
                    </a:cubicBezTo>
                    <a:cubicBezTo>
                      <a:pt x="7" y="100"/>
                      <a:pt x="0" y="107"/>
                      <a:pt x="0" y="116"/>
                    </a:cubicBezTo>
                    <a:cubicBezTo>
                      <a:pt x="0" y="125"/>
                      <a:pt x="7" y="132"/>
                      <a:pt x="16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A7A1373-6F5C-4BA2-8E1A-5097878CB268}"/>
                </a:ext>
              </a:extLst>
            </p:cNvPr>
            <p:cNvGrpSpPr/>
            <p:nvPr/>
          </p:nvGrpSpPr>
          <p:grpSpPr>
            <a:xfrm>
              <a:off x="4663791" y="4945150"/>
              <a:ext cx="278695" cy="278695"/>
              <a:chOff x="4549775" y="4899025"/>
              <a:chExt cx="455613" cy="455613"/>
            </a:xfrm>
            <a:solidFill>
              <a:schemeClr val="bg1"/>
            </a:solidFill>
            <a:effectLst/>
          </p:grpSpPr>
          <p:sp>
            <p:nvSpPr>
              <p:cNvPr id="34" name="Freeform 21">
                <a:extLst>
                  <a:ext uri="{FF2B5EF4-FFF2-40B4-BE49-F238E27FC236}">
                    <a16:creationId xmlns:a16="http://schemas.microsoft.com/office/drawing/2014/main" id="{B0AB35E0-D347-40DF-B5E3-6F38798D86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9775" y="4899025"/>
                <a:ext cx="455613" cy="455613"/>
              </a:xfrm>
              <a:custGeom>
                <a:avLst/>
                <a:gdLst>
                  <a:gd name="T0" fmla="*/ 236 w 240"/>
                  <a:gd name="T1" fmla="*/ 0 h 240"/>
                  <a:gd name="T2" fmla="*/ 4 w 240"/>
                  <a:gd name="T3" fmla="*/ 0 h 240"/>
                  <a:gd name="T4" fmla="*/ 0 w 240"/>
                  <a:gd name="T5" fmla="*/ 4 h 240"/>
                  <a:gd name="T6" fmla="*/ 0 w 240"/>
                  <a:gd name="T7" fmla="*/ 156 h 240"/>
                  <a:gd name="T8" fmla="*/ 4 w 240"/>
                  <a:gd name="T9" fmla="*/ 160 h 240"/>
                  <a:gd name="T10" fmla="*/ 116 w 240"/>
                  <a:gd name="T11" fmla="*/ 160 h 240"/>
                  <a:gd name="T12" fmla="*/ 116 w 240"/>
                  <a:gd name="T13" fmla="*/ 186 h 240"/>
                  <a:gd name="T14" fmla="*/ 69 w 240"/>
                  <a:gd name="T15" fmla="*/ 233 h 240"/>
                  <a:gd name="T16" fmla="*/ 69 w 240"/>
                  <a:gd name="T17" fmla="*/ 239 h 240"/>
                  <a:gd name="T18" fmla="*/ 75 w 240"/>
                  <a:gd name="T19" fmla="*/ 239 h 240"/>
                  <a:gd name="T20" fmla="*/ 120 w 240"/>
                  <a:gd name="T21" fmla="*/ 194 h 240"/>
                  <a:gd name="T22" fmla="*/ 165 w 240"/>
                  <a:gd name="T23" fmla="*/ 239 h 240"/>
                  <a:gd name="T24" fmla="*/ 168 w 240"/>
                  <a:gd name="T25" fmla="*/ 240 h 240"/>
                  <a:gd name="T26" fmla="*/ 171 w 240"/>
                  <a:gd name="T27" fmla="*/ 239 h 240"/>
                  <a:gd name="T28" fmla="*/ 171 w 240"/>
                  <a:gd name="T29" fmla="*/ 233 h 240"/>
                  <a:gd name="T30" fmla="*/ 124 w 240"/>
                  <a:gd name="T31" fmla="*/ 186 h 240"/>
                  <a:gd name="T32" fmla="*/ 124 w 240"/>
                  <a:gd name="T33" fmla="*/ 160 h 240"/>
                  <a:gd name="T34" fmla="*/ 236 w 240"/>
                  <a:gd name="T35" fmla="*/ 160 h 240"/>
                  <a:gd name="T36" fmla="*/ 240 w 240"/>
                  <a:gd name="T37" fmla="*/ 156 h 240"/>
                  <a:gd name="T38" fmla="*/ 240 w 240"/>
                  <a:gd name="T39" fmla="*/ 4 h 240"/>
                  <a:gd name="T40" fmla="*/ 236 w 240"/>
                  <a:gd name="T41" fmla="*/ 0 h 240"/>
                  <a:gd name="T42" fmla="*/ 216 w 240"/>
                  <a:gd name="T43" fmla="*/ 132 h 240"/>
                  <a:gd name="T44" fmla="*/ 212 w 240"/>
                  <a:gd name="T45" fmla="*/ 136 h 240"/>
                  <a:gd name="T46" fmla="*/ 28 w 240"/>
                  <a:gd name="T47" fmla="*/ 136 h 240"/>
                  <a:gd name="T48" fmla="*/ 24 w 240"/>
                  <a:gd name="T49" fmla="*/ 132 h 240"/>
                  <a:gd name="T50" fmla="*/ 24 w 240"/>
                  <a:gd name="T51" fmla="*/ 84 h 240"/>
                  <a:gd name="T52" fmla="*/ 24 w 240"/>
                  <a:gd name="T53" fmla="*/ 28 h 240"/>
                  <a:gd name="T54" fmla="*/ 28 w 240"/>
                  <a:gd name="T55" fmla="*/ 24 h 240"/>
                  <a:gd name="T56" fmla="*/ 212 w 240"/>
                  <a:gd name="T57" fmla="*/ 24 h 240"/>
                  <a:gd name="T58" fmla="*/ 216 w 240"/>
                  <a:gd name="T59" fmla="*/ 28 h 240"/>
                  <a:gd name="T60" fmla="*/ 216 w 240"/>
                  <a:gd name="T61" fmla="*/ 13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0" h="240">
                    <a:moveTo>
                      <a:pt x="23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58"/>
                      <a:pt x="2" y="160"/>
                      <a:pt x="4" y="160"/>
                    </a:cubicBezTo>
                    <a:cubicBezTo>
                      <a:pt x="116" y="160"/>
                      <a:pt x="116" y="160"/>
                      <a:pt x="116" y="160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69" y="233"/>
                      <a:pt x="69" y="233"/>
                      <a:pt x="69" y="233"/>
                    </a:cubicBezTo>
                    <a:cubicBezTo>
                      <a:pt x="68" y="235"/>
                      <a:pt x="68" y="237"/>
                      <a:pt x="69" y="239"/>
                    </a:cubicBezTo>
                    <a:cubicBezTo>
                      <a:pt x="71" y="240"/>
                      <a:pt x="73" y="240"/>
                      <a:pt x="75" y="239"/>
                    </a:cubicBezTo>
                    <a:cubicBezTo>
                      <a:pt x="120" y="194"/>
                      <a:pt x="120" y="194"/>
                      <a:pt x="120" y="194"/>
                    </a:cubicBezTo>
                    <a:cubicBezTo>
                      <a:pt x="165" y="239"/>
                      <a:pt x="165" y="239"/>
                      <a:pt x="165" y="239"/>
                    </a:cubicBezTo>
                    <a:cubicBezTo>
                      <a:pt x="166" y="240"/>
                      <a:pt x="167" y="240"/>
                      <a:pt x="168" y="240"/>
                    </a:cubicBezTo>
                    <a:cubicBezTo>
                      <a:pt x="169" y="240"/>
                      <a:pt x="170" y="240"/>
                      <a:pt x="171" y="239"/>
                    </a:cubicBezTo>
                    <a:cubicBezTo>
                      <a:pt x="172" y="237"/>
                      <a:pt x="172" y="235"/>
                      <a:pt x="171" y="233"/>
                    </a:cubicBezTo>
                    <a:cubicBezTo>
                      <a:pt x="124" y="186"/>
                      <a:pt x="124" y="186"/>
                      <a:pt x="124" y="186"/>
                    </a:cubicBezTo>
                    <a:cubicBezTo>
                      <a:pt x="124" y="160"/>
                      <a:pt x="124" y="160"/>
                      <a:pt x="124" y="160"/>
                    </a:cubicBezTo>
                    <a:cubicBezTo>
                      <a:pt x="236" y="160"/>
                      <a:pt x="236" y="160"/>
                      <a:pt x="236" y="160"/>
                    </a:cubicBezTo>
                    <a:cubicBezTo>
                      <a:pt x="238" y="160"/>
                      <a:pt x="240" y="158"/>
                      <a:pt x="240" y="156"/>
                    </a:cubicBezTo>
                    <a:cubicBezTo>
                      <a:pt x="240" y="4"/>
                      <a:pt x="240" y="4"/>
                      <a:pt x="240" y="4"/>
                    </a:cubicBezTo>
                    <a:cubicBezTo>
                      <a:pt x="240" y="2"/>
                      <a:pt x="238" y="0"/>
                      <a:pt x="236" y="0"/>
                    </a:cubicBezTo>
                    <a:close/>
                    <a:moveTo>
                      <a:pt x="216" y="132"/>
                    </a:moveTo>
                    <a:cubicBezTo>
                      <a:pt x="216" y="134"/>
                      <a:pt x="214" y="136"/>
                      <a:pt x="212" y="13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6" y="136"/>
                      <a:pt x="24" y="134"/>
                      <a:pt x="24" y="13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26"/>
                      <a:pt x="26" y="24"/>
                      <a:pt x="28" y="24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4" y="24"/>
                      <a:pt x="216" y="26"/>
                      <a:pt x="216" y="28"/>
                    </a:cubicBezTo>
                    <a:lnTo>
                      <a:pt x="216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22">
                <a:extLst>
                  <a:ext uri="{FF2B5EF4-FFF2-40B4-BE49-F238E27FC236}">
                    <a16:creationId xmlns:a16="http://schemas.microsoft.com/office/drawing/2014/main" id="{AD5885CD-3A93-477D-BAB3-BA7A26C97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5813" y="4989513"/>
                <a:ext cx="319088" cy="114300"/>
              </a:xfrm>
              <a:custGeom>
                <a:avLst/>
                <a:gdLst>
                  <a:gd name="T0" fmla="*/ 4 w 168"/>
                  <a:gd name="T1" fmla="*/ 40 h 60"/>
                  <a:gd name="T2" fmla="*/ 40 w 168"/>
                  <a:gd name="T3" fmla="*/ 40 h 60"/>
                  <a:gd name="T4" fmla="*/ 43 w 168"/>
                  <a:gd name="T5" fmla="*/ 39 h 60"/>
                  <a:gd name="T6" fmla="*/ 61 w 168"/>
                  <a:gd name="T7" fmla="*/ 20 h 60"/>
                  <a:gd name="T8" fmla="*/ 76 w 168"/>
                  <a:gd name="T9" fmla="*/ 58 h 60"/>
                  <a:gd name="T10" fmla="*/ 79 w 168"/>
                  <a:gd name="T11" fmla="*/ 60 h 60"/>
                  <a:gd name="T12" fmla="*/ 80 w 168"/>
                  <a:gd name="T13" fmla="*/ 60 h 60"/>
                  <a:gd name="T14" fmla="*/ 83 w 168"/>
                  <a:gd name="T15" fmla="*/ 59 h 60"/>
                  <a:gd name="T16" fmla="*/ 108 w 168"/>
                  <a:gd name="T17" fmla="*/ 34 h 60"/>
                  <a:gd name="T18" fmla="*/ 125 w 168"/>
                  <a:gd name="T19" fmla="*/ 51 h 60"/>
                  <a:gd name="T20" fmla="*/ 128 w 168"/>
                  <a:gd name="T21" fmla="*/ 52 h 60"/>
                  <a:gd name="T22" fmla="*/ 131 w 168"/>
                  <a:gd name="T23" fmla="*/ 51 h 60"/>
                  <a:gd name="T24" fmla="*/ 167 w 168"/>
                  <a:gd name="T25" fmla="*/ 7 h 60"/>
                  <a:gd name="T26" fmla="*/ 167 w 168"/>
                  <a:gd name="T27" fmla="*/ 1 h 60"/>
                  <a:gd name="T28" fmla="*/ 161 w 168"/>
                  <a:gd name="T29" fmla="*/ 1 h 60"/>
                  <a:gd name="T30" fmla="*/ 128 w 168"/>
                  <a:gd name="T31" fmla="*/ 42 h 60"/>
                  <a:gd name="T32" fmla="*/ 111 w 168"/>
                  <a:gd name="T33" fmla="*/ 25 h 60"/>
                  <a:gd name="T34" fmla="*/ 105 w 168"/>
                  <a:gd name="T35" fmla="*/ 25 h 60"/>
                  <a:gd name="T36" fmla="*/ 81 w 168"/>
                  <a:gd name="T37" fmla="*/ 49 h 60"/>
                  <a:gd name="T38" fmla="*/ 66 w 168"/>
                  <a:gd name="T39" fmla="*/ 11 h 60"/>
                  <a:gd name="T40" fmla="*/ 63 w 168"/>
                  <a:gd name="T41" fmla="*/ 9 h 60"/>
                  <a:gd name="T42" fmla="*/ 59 w 168"/>
                  <a:gd name="T43" fmla="*/ 10 h 60"/>
                  <a:gd name="T44" fmla="*/ 38 w 168"/>
                  <a:gd name="T45" fmla="*/ 32 h 60"/>
                  <a:gd name="T46" fmla="*/ 4 w 168"/>
                  <a:gd name="T47" fmla="*/ 32 h 60"/>
                  <a:gd name="T48" fmla="*/ 0 w 168"/>
                  <a:gd name="T49" fmla="*/ 36 h 60"/>
                  <a:gd name="T50" fmla="*/ 4 w 168"/>
                  <a:gd name="T51" fmla="*/ 4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8" h="60">
                    <a:moveTo>
                      <a:pt x="4" y="40"/>
                    </a:moveTo>
                    <a:cubicBezTo>
                      <a:pt x="40" y="40"/>
                      <a:pt x="40" y="40"/>
                      <a:pt x="40" y="40"/>
                    </a:cubicBezTo>
                    <a:cubicBezTo>
                      <a:pt x="41" y="40"/>
                      <a:pt x="42" y="40"/>
                      <a:pt x="43" y="39"/>
                    </a:cubicBezTo>
                    <a:cubicBezTo>
                      <a:pt x="61" y="20"/>
                      <a:pt x="61" y="20"/>
                      <a:pt x="61" y="20"/>
                    </a:cubicBezTo>
                    <a:cubicBezTo>
                      <a:pt x="76" y="58"/>
                      <a:pt x="76" y="58"/>
                      <a:pt x="76" y="58"/>
                    </a:cubicBezTo>
                    <a:cubicBezTo>
                      <a:pt x="77" y="59"/>
                      <a:pt x="78" y="60"/>
                      <a:pt x="79" y="60"/>
                    </a:cubicBezTo>
                    <a:cubicBezTo>
                      <a:pt x="79" y="60"/>
                      <a:pt x="80" y="60"/>
                      <a:pt x="80" y="60"/>
                    </a:cubicBezTo>
                    <a:cubicBezTo>
                      <a:pt x="81" y="60"/>
                      <a:pt x="82" y="60"/>
                      <a:pt x="83" y="59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6" y="52"/>
                      <a:pt x="127" y="52"/>
                      <a:pt x="128" y="52"/>
                    </a:cubicBezTo>
                    <a:cubicBezTo>
                      <a:pt x="129" y="52"/>
                      <a:pt x="130" y="51"/>
                      <a:pt x="131" y="51"/>
                    </a:cubicBezTo>
                    <a:cubicBezTo>
                      <a:pt x="167" y="7"/>
                      <a:pt x="167" y="7"/>
                      <a:pt x="167" y="7"/>
                    </a:cubicBezTo>
                    <a:cubicBezTo>
                      <a:pt x="168" y="5"/>
                      <a:pt x="168" y="2"/>
                      <a:pt x="167" y="1"/>
                    </a:cubicBezTo>
                    <a:cubicBezTo>
                      <a:pt x="165" y="0"/>
                      <a:pt x="162" y="0"/>
                      <a:pt x="161" y="1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11" y="25"/>
                      <a:pt x="111" y="25"/>
                      <a:pt x="111" y="25"/>
                    </a:cubicBezTo>
                    <a:cubicBezTo>
                      <a:pt x="109" y="24"/>
                      <a:pt x="107" y="24"/>
                      <a:pt x="105" y="25"/>
                    </a:cubicBezTo>
                    <a:cubicBezTo>
                      <a:pt x="81" y="49"/>
                      <a:pt x="81" y="49"/>
                      <a:pt x="81" y="49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0"/>
                      <a:pt x="64" y="9"/>
                      <a:pt x="63" y="9"/>
                    </a:cubicBezTo>
                    <a:cubicBezTo>
                      <a:pt x="62" y="8"/>
                      <a:pt x="60" y="9"/>
                      <a:pt x="59" y="10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2" y="32"/>
                      <a:pt x="0" y="34"/>
                      <a:pt x="0" y="36"/>
                    </a:cubicBezTo>
                    <a:cubicBezTo>
                      <a:pt x="0" y="38"/>
                      <a:pt x="2" y="40"/>
                      <a:pt x="4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0021336-31BE-4B2A-833E-1614D3DCE5A6}"/>
                </a:ext>
              </a:extLst>
            </p:cNvPr>
            <p:cNvGrpSpPr/>
            <p:nvPr/>
          </p:nvGrpSpPr>
          <p:grpSpPr>
            <a:xfrm>
              <a:off x="7227399" y="4942443"/>
              <a:ext cx="342309" cy="271939"/>
              <a:chOff x="7216775" y="4897437"/>
              <a:chExt cx="455613" cy="361951"/>
            </a:xfrm>
            <a:solidFill>
              <a:schemeClr val="bg1"/>
            </a:solidFill>
            <a:effectLst/>
          </p:grpSpPr>
          <p:sp>
            <p:nvSpPr>
              <p:cNvPr id="37" name="Freeform 26">
                <a:extLst>
                  <a:ext uri="{FF2B5EF4-FFF2-40B4-BE49-F238E27FC236}">
                    <a16:creationId xmlns:a16="http://schemas.microsoft.com/office/drawing/2014/main" id="{4440B8F8-1462-45D4-814C-968A1CEA7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1888" y="4953000"/>
                <a:ext cx="190500" cy="306388"/>
              </a:xfrm>
              <a:custGeom>
                <a:avLst/>
                <a:gdLst>
                  <a:gd name="T0" fmla="*/ 73 w 100"/>
                  <a:gd name="T1" fmla="*/ 97 h 161"/>
                  <a:gd name="T2" fmla="*/ 52 w 100"/>
                  <a:gd name="T3" fmla="*/ 90 h 161"/>
                  <a:gd name="T4" fmla="*/ 52 w 100"/>
                  <a:gd name="T5" fmla="*/ 80 h 161"/>
                  <a:gd name="T6" fmla="*/ 65 w 100"/>
                  <a:gd name="T7" fmla="*/ 59 h 161"/>
                  <a:gd name="T8" fmla="*/ 70 w 100"/>
                  <a:gd name="T9" fmla="*/ 45 h 161"/>
                  <a:gd name="T10" fmla="*/ 68 w 100"/>
                  <a:gd name="T11" fmla="*/ 37 h 161"/>
                  <a:gd name="T12" fmla="*/ 66 w 100"/>
                  <a:gd name="T13" fmla="*/ 34 h 161"/>
                  <a:gd name="T14" fmla="*/ 70 w 100"/>
                  <a:gd name="T15" fmla="*/ 15 h 161"/>
                  <a:gd name="T16" fmla="*/ 41 w 100"/>
                  <a:gd name="T17" fmla="*/ 0 h 161"/>
                  <a:gd name="T18" fmla="*/ 13 w 100"/>
                  <a:gd name="T19" fmla="*/ 11 h 161"/>
                  <a:gd name="T20" fmla="*/ 4 w 100"/>
                  <a:gd name="T21" fmla="*/ 15 h 161"/>
                  <a:gd name="T22" fmla="*/ 5 w 100"/>
                  <a:gd name="T23" fmla="*/ 34 h 161"/>
                  <a:gd name="T24" fmla="*/ 3 w 100"/>
                  <a:gd name="T25" fmla="*/ 37 h 161"/>
                  <a:gd name="T26" fmla="*/ 1 w 100"/>
                  <a:gd name="T27" fmla="*/ 45 h 161"/>
                  <a:gd name="T28" fmla="*/ 6 w 100"/>
                  <a:gd name="T29" fmla="*/ 59 h 161"/>
                  <a:gd name="T30" fmla="*/ 20 w 100"/>
                  <a:gd name="T31" fmla="*/ 80 h 161"/>
                  <a:gd name="T32" fmla="*/ 20 w 100"/>
                  <a:gd name="T33" fmla="*/ 90 h 161"/>
                  <a:gd name="T34" fmla="*/ 12 w 100"/>
                  <a:gd name="T35" fmla="*/ 93 h 161"/>
                  <a:gd name="T36" fmla="*/ 28 w 100"/>
                  <a:gd name="T37" fmla="*/ 113 h 161"/>
                  <a:gd name="T38" fmla="*/ 28 w 100"/>
                  <a:gd name="T39" fmla="*/ 161 h 161"/>
                  <a:gd name="T40" fmla="*/ 96 w 100"/>
                  <a:gd name="T41" fmla="*/ 161 h 161"/>
                  <a:gd name="T42" fmla="*/ 100 w 100"/>
                  <a:gd name="T43" fmla="*/ 157 h 161"/>
                  <a:gd name="T44" fmla="*/ 100 w 100"/>
                  <a:gd name="T45" fmla="*/ 112 h 161"/>
                  <a:gd name="T46" fmla="*/ 73 w 100"/>
                  <a:gd name="T47" fmla="*/ 97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161">
                    <a:moveTo>
                      <a:pt x="73" y="97"/>
                    </a:moveTo>
                    <a:cubicBezTo>
                      <a:pt x="67" y="95"/>
                      <a:pt x="59" y="93"/>
                      <a:pt x="52" y="90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6" y="77"/>
                      <a:pt x="64" y="72"/>
                      <a:pt x="65" y="59"/>
                    </a:cubicBezTo>
                    <a:cubicBezTo>
                      <a:pt x="68" y="56"/>
                      <a:pt x="70" y="51"/>
                      <a:pt x="70" y="45"/>
                    </a:cubicBezTo>
                    <a:cubicBezTo>
                      <a:pt x="70" y="43"/>
                      <a:pt x="69" y="40"/>
                      <a:pt x="68" y="37"/>
                    </a:cubicBezTo>
                    <a:cubicBezTo>
                      <a:pt x="68" y="36"/>
                      <a:pt x="67" y="35"/>
                      <a:pt x="66" y="34"/>
                    </a:cubicBezTo>
                    <a:cubicBezTo>
                      <a:pt x="69" y="30"/>
                      <a:pt x="72" y="22"/>
                      <a:pt x="70" y="15"/>
                    </a:cubicBezTo>
                    <a:cubicBezTo>
                      <a:pt x="66" y="4"/>
                      <a:pt x="52" y="0"/>
                      <a:pt x="41" y="0"/>
                    </a:cubicBezTo>
                    <a:cubicBezTo>
                      <a:pt x="30" y="0"/>
                      <a:pt x="18" y="3"/>
                      <a:pt x="13" y="11"/>
                    </a:cubicBezTo>
                    <a:cubicBezTo>
                      <a:pt x="8" y="11"/>
                      <a:pt x="5" y="13"/>
                      <a:pt x="4" y="15"/>
                    </a:cubicBezTo>
                    <a:cubicBezTo>
                      <a:pt x="0" y="20"/>
                      <a:pt x="3" y="28"/>
                      <a:pt x="5" y="34"/>
                    </a:cubicBezTo>
                    <a:cubicBezTo>
                      <a:pt x="4" y="34"/>
                      <a:pt x="3" y="36"/>
                      <a:pt x="3" y="37"/>
                    </a:cubicBezTo>
                    <a:cubicBezTo>
                      <a:pt x="1" y="39"/>
                      <a:pt x="1" y="43"/>
                      <a:pt x="1" y="45"/>
                    </a:cubicBezTo>
                    <a:cubicBezTo>
                      <a:pt x="1" y="51"/>
                      <a:pt x="3" y="56"/>
                      <a:pt x="6" y="59"/>
                    </a:cubicBezTo>
                    <a:cubicBezTo>
                      <a:pt x="7" y="71"/>
                      <a:pt x="14" y="77"/>
                      <a:pt x="20" y="8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7" y="91"/>
                      <a:pt x="14" y="92"/>
                      <a:pt x="12" y="93"/>
                    </a:cubicBezTo>
                    <a:cubicBezTo>
                      <a:pt x="22" y="101"/>
                      <a:pt x="28" y="107"/>
                      <a:pt x="28" y="113"/>
                    </a:cubicBezTo>
                    <a:cubicBezTo>
                      <a:pt x="28" y="161"/>
                      <a:pt x="28" y="161"/>
                      <a:pt x="28" y="161"/>
                    </a:cubicBezTo>
                    <a:cubicBezTo>
                      <a:pt x="96" y="161"/>
                      <a:pt x="96" y="161"/>
                      <a:pt x="96" y="161"/>
                    </a:cubicBezTo>
                    <a:cubicBezTo>
                      <a:pt x="98" y="161"/>
                      <a:pt x="100" y="159"/>
                      <a:pt x="100" y="157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106"/>
                      <a:pt x="92" y="103"/>
                      <a:pt x="73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>
                <a:extLst>
                  <a:ext uri="{FF2B5EF4-FFF2-40B4-BE49-F238E27FC236}">
                    <a16:creationId xmlns:a16="http://schemas.microsoft.com/office/drawing/2014/main" id="{911400A2-7778-4011-A9EB-2140EFD1F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6775" y="4897437"/>
                <a:ext cx="303213" cy="361951"/>
              </a:xfrm>
              <a:custGeom>
                <a:avLst/>
                <a:gdLst>
                  <a:gd name="T0" fmla="*/ 141 w 160"/>
                  <a:gd name="T1" fmla="*/ 125 h 190"/>
                  <a:gd name="T2" fmla="*/ 104 w 160"/>
                  <a:gd name="T3" fmla="*/ 107 h 190"/>
                  <a:gd name="T4" fmla="*/ 104 w 160"/>
                  <a:gd name="T5" fmla="*/ 94 h 190"/>
                  <a:gd name="T6" fmla="*/ 105 w 160"/>
                  <a:gd name="T7" fmla="*/ 91 h 190"/>
                  <a:gd name="T8" fmla="*/ 113 w 160"/>
                  <a:gd name="T9" fmla="*/ 76 h 190"/>
                  <a:gd name="T10" fmla="*/ 114 w 160"/>
                  <a:gd name="T11" fmla="*/ 72 h 190"/>
                  <a:gd name="T12" fmla="*/ 115 w 160"/>
                  <a:gd name="T13" fmla="*/ 67 h 190"/>
                  <a:gd name="T14" fmla="*/ 120 w 160"/>
                  <a:gd name="T15" fmla="*/ 59 h 190"/>
                  <a:gd name="T16" fmla="*/ 120 w 160"/>
                  <a:gd name="T17" fmla="*/ 58 h 190"/>
                  <a:gd name="T18" fmla="*/ 120 w 160"/>
                  <a:gd name="T19" fmla="*/ 56 h 190"/>
                  <a:gd name="T20" fmla="*/ 118 w 160"/>
                  <a:gd name="T21" fmla="*/ 45 h 190"/>
                  <a:gd name="T22" fmla="*/ 115 w 160"/>
                  <a:gd name="T23" fmla="*/ 42 h 190"/>
                  <a:gd name="T24" fmla="*/ 118 w 160"/>
                  <a:gd name="T25" fmla="*/ 34 h 190"/>
                  <a:gd name="T26" fmla="*/ 119 w 160"/>
                  <a:gd name="T27" fmla="*/ 29 h 190"/>
                  <a:gd name="T28" fmla="*/ 120 w 160"/>
                  <a:gd name="T29" fmla="*/ 24 h 190"/>
                  <a:gd name="T30" fmla="*/ 119 w 160"/>
                  <a:gd name="T31" fmla="*/ 19 h 190"/>
                  <a:gd name="T32" fmla="*/ 118 w 160"/>
                  <a:gd name="T33" fmla="*/ 15 h 190"/>
                  <a:gd name="T34" fmla="*/ 116 w 160"/>
                  <a:gd name="T35" fmla="*/ 13 h 190"/>
                  <a:gd name="T36" fmla="*/ 110 w 160"/>
                  <a:gd name="T37" fmla="*/ 7 h 190"/>
                  <a:gd name="T38" fmla="*/ 108 w 160"/>
                  <a:gd name="T39" fmla="*/ 6 h 190"/>
                  <a:gd name="T40" fmla="*/ 90 w 160"/>
                  <a:gd name="T41" fmla="*/ 1 h 190"/>
                  <a:gd name="T42" fmla="*/ 85 w 160"/>
                  <a:gd name="T43" fmla="*/ 0 h 190"/>
                  <a:gd name="T44" fmla="*/ 78 w 160"/>
                  <a:gd name="T45" fmla="*/ 1 h 190"/>
                  <a:gd name="T46" fmla="*/ 73 w 160"/>
                  <a:gd name="T47" fmla="*/ 2 h 190"/>
                  <a:gd name="T48" fmla="*/ 68 w 160"/>
                  <a:gd name="T49" fmla="*/ 3 h 190"/>
                  <a:gd name="T50" fmla="*/ 65 w 160"/>
                  <a:gd name="T51" fmla="*/ 4 h 190"/>
                  <a:gd name="T52" fmla="*/ 53 w 160"/>
                  <a:gd name="T53" fmla="*/ 13 h 190"/>
                  <a:gd name="T54" fmla="*/ 50 w 160"/>
                  <a:gd name="T55" fmla="*/ 15 h 190"/>
                  <a:gd name="T56" fmla="*/ 46 w 160"/>
                  <a:gd name="T57" fmla="*/ 16 h 190"/>
                  <a:gd name="T58" fmla="*/ 44 w 160"/>
                  <a:gd name="T59" fmla="*/ 17 h 190"/>
                  <a:gd name="T60" fmla="*/ 42 w 160"/>
                  <a:gd name="T61" fmla="*/ 18 h 190"/>
                  <a:gd name="T62" fmla="*/ 40 w 160"/>
                  <a:gd name="T63" fmla="*/ 22 h 190"/>
                  <a:gd name="T64" fmla="*/ 40 w 160"/>
                  <a:gd name="T65" fmla="*/ 24 h 190"/>
                  <a:gd name="T66" fmla="*/ 40 w 160"/>
                  <a:gd name="T67" fmla="*/ 27 h 190"/>
                  <a:gd name="T68" fmla="*/ 40 w 160"/>
                  <a:gd name="T69" fmla="*/ 30 h 190"/>
                  <a:gd name="T70" fmla="*/ 41 w 160"/>
                  <a:gd name="T71" fmla="*/ 33 h 190"/>
                  <a:gd name="T72" fmla="*/ 42 w 160"/>
                  <a:gd name="T73" fmla="*/ 36 h 190"/>
                  <a:gd name="T74" fmla="*/ 44 w 160"/>
                  <a:gd name="T75" fmla="*/ 42 h 190"/>
                  <a:gd name="T76" fmla="*/ 41 w 160"/>
                  <a:gd name="T77" fmla="*/ 45 h 190"/>
                  <a:gd name="T78" fmla="*/ 39 w 160"/>
                  <a:gd name="T79" fmla="*/ 56 h 190"/>
                  <a:gd name="T80" fmla="*/ 39 w 160"/>
                  <a:gd name="T81" fmla="*/ 58 h 190"/>
                  <a:gd name="T82" fmla="*/ 40 w 160"/>
                  <a:gd name="T83" fmla="*/ 59 h 190"/>
                  <a:gd name="T84" fmla="*/ 44 w 160"/>
                  <a:gd name="T85" fmla="*/ 67 h 190"/>
                  <a:gd name="T86" fmla="*/ 46 w 160"/>
                  <a:gd name="T87" fmla="*/ 72 h 190"/>
                  <a:gd name="T88" fmla="*/ 56 w 160"/>
                  <a:gd name="T89" fmla="*/ 92 h 190"/>
                  <a:gd name="T90" fmla="*/ 56 w 160"/>
                  <a:gd name="T91" fmla="*/ 105 h 190"/>
                  <a:gd name="T92" fmla="*/ 21 w 160"/>
                  <a:gd name="T93" fmla="*/ 124 h 190"/>
                  <a:gd name="T94" fmla="*/ 0 w 160"/>
                  <a:gd name="T95" fmla="*/ 142 h 190"/>
                  <a:gd name="T96" fmla="*/ 4 w 160"/>
                  <a:gd name="T97" fmla="*/ 190 h 190"/>
                  <a:gd name="T98" fmla="*/ 156 w 160"/>
                  <a:gd name="T99" fmla="*/ 190 h 190"/>
                  <a:gd name="T100" fmla="*/ 160 w 160"/>
                  <a:gd name="T101" fmla="*/ 186 h 190"/>
                  <a:gd name="T102" fmla="*/ 142 w 160"/>
                  <a:gd name="T103" fmla="*/ 125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0" h="190">
                    <a:moveTo>
                      <a:pt x="142" y="125"/>
                    </a:moveTo>
                    <a:cubicBezTo>
                      <a:pt x="141" y="125"/>
                      <a:pt x="141" y="125"/>
                      <a:pt x="141" y="125"/>
                    </a:cubicBezTo>
                    <a:cubicBezTo>
                      <a:pt x="141" y="125"/>
                      <a:pt x="140" y="125"/>
                      <a:pt x="139" y="124"/>
                    </a:cubicBezTo>
                    <a:cubicBezTo>
                      <a:pt x="129" y="118"/>
                      <a:pt x="116" y="112"/>
                      <a:pt x="104" y="107"/>
                    </a:cubicBezTo>
                    <a:cubicBezTo>
                      <a:pt x="104" y="105"/>
                      <a:pt x="104" y="105"/>
                      <a:pt x="104" y="105"/>
                    </a:cubicBezTo>
                    <a:cubicBezTo>
                      <a:pt x="104" y="94"/>
                      <a:pt x="104" y="94"/>
                      <a:pt x="104" y="94"/>
                    </a:cubicBezTo>
                    <a:cubicBezTo>
                      <a:pt x="104" y="92"/>
                      <a:pt x="104" y="92"/>
                      <a:pt x="104" y="92"/>
                    </a:cubicBezTo>
                    <a:cubicBezTo>
                      <a:pt x="104" y="92"/>
                      <a:pt x="105" y="92"/>
                      <a:pt x="105" y="91"/>
                    </a:cubicBezTo>
                    <a:cubicBezTo>
                      <a:pt x="105" y="91"/>
                      <a:pt x="105" y="91"/>
                      <a:pt x="105" y="91"/>
                    </a:cubicBezTo>
                    <a:cubicBezTo>
                      <a:pt x="108" y="89"/>
                      <a:pt x="111" y="84"/>
                      <a:pt x="113" y="76"/>
                    </a:cubicBezTo>
                    <a:cubicBezTo>
                      <a:pt x="113" y="75"/>
                      <a:pt x="113" y="74"/>
                      <a:pt x="113" y="74"/>
                    </a:cubicBezTo>
                    <a:cubicBezTo>
                      <a:pt x="113" y="73"/>
                      <a:pt x="113" y="72"/>
                      <a:pt x="114" y="72"/>
                    </a:cubicBezTo>
                    <a:cubicBezTo>
                      <a:pt x="114" y="71"/>
                      <a:pt x="114" y="69"/>
                      <a:pt x="114" y="68"/>
                    </a:cubicBezTo>
                    <a:cubicBezTo>
                      <a:pt x="114" y="68"/>
                      <a:pt x="115" y="67"/>
                      <a:pt x="115" y="67"/>
                    </a:cubicBezTo>
                    <a:cubicBezTo>
                      <a:pt x="115" y="67"/>
                      <a:pt x="115" y="67"/>
                      <a:pt x="115" y="67"/>
                    </a:cubicBezTo>
                    <a:cubicBezTo>
                      <a:pt x="117" y="65"/>
                      <a:pt x="119" y="63"/>
                      <a:pt x="120" y="59"/>
                    </a:cubicBezTo>
                    <a:cubicBezTo>
                      <a:pt x="120" y="59"/>
                      <a:pt x="120" y="59"/>
                      <a:pt x="120" y="59"/>
                    </a:cubicBezTo>
                    <a:cubicBezTo>
                      <a:pt x="120" y="59"/>
                      <a:pt x="120" y="58"/>
                      <a:pt x="120" y="58"/>
                    </a:cubicBezTo>
                    <a:cubicBezTo>
                      <a:pt x="120" y="57"/>
                      <a:pt x="120" y="57"/>
                      <a:pt x="120" y="57"/>
                    </a:cubicBezTo>
                    <a:cubicBezTo>
                      <a:pt x="120" y="56"/>
                      <a:pt x="120" y="56"/>
                      <a:pt x="120" y="56"/>
                    </a:cubicBezTo>
                    <a:cubicBezTo>
                      <a:pt x="120" y="55"/>
                      <a:pt x="120" y="54"/>
                      <a:pt x="120" y="53"/>
                    </a:cubicBezTo>
                    <a:cubicBezTo>
                      <a:pt x="120" y="50"/>
                      <a:pt x="120" y="47"/>
                      <a:pt x="118" y="45"/>
                    </a:cubicBezTo>
                    <a:cubicBezTo>
                      <a:pt x="118" y="45"/>
                      <a:pt x="118" y="45"/>
                      <a:pt x="118" y="45"/>
                    </a:cubicBezTo>
                    <a:cubicBezTo>
                      <a:pt x="118" y="44"/>
                      <a:pt x="117" y="43"/>
                      <a:pt x="115" y="42"/>
                    </a:cubicBezTo>
                    <a:cubicBezTo>
                      <a:pt x="116" y="41"/>
                      <a:pt x="116" y="41"/>
                      <a:pt x="117" y="40"/>
                    </a:cubicBezTo>
                    <a:cubicBezTo>
                      <a:pt x="117" y="38"/>
                      <a:pt x="118" y="36"/>
                      <a:pt x="118" y="34"/>
                    </a:cubicBezTo>
                    <a:cubicBezTo>
                      <a:pt x="118" y="34"/>
                      <a:pt x="118" y="34"/>
                      <a:pt x="118" y="34"/>
                    </a:cubicBezTo>
                    <a:cubicBezTo>
                      <a:pt x="119" y="32"/>
                      <a:pt x="119" y="30"/>
                      <a:pt x="119" y="29"/>
                    </a:cubicBezTo>
                    <a:cubicBezTo>
                      <a:pt x="119" y="29"/>
                      <a:pt x="119" y="29"/>
                      <a:pt x="119" y="29"/>
                    </a:cubicBezTo>
                    <a:cubicBezTo>
                      <a:pt x="120" y="27"/>
                      <a:pt x="120" y="26"/>
                      <a:pt x="120" y="24"/>
                    </a:cubicBezTo>
                    <a:cubicBezTo>
                      <a:pt x="120" y="24"/>
                      <a:pt x="120" y="23"/>
                      <a:pt x="120" y="23"/>
                    </a:cubicBezTo>
                    <a:cubicBezTo>
                      <a:pt x="119" y="22"/>
                      <a:pt x="119" y="20"/>
                      <a:pt x="119" y="19"/>
                    </a:cubicBezTo>
                    <a:cubicBezTo>
                      <a:pt x="119" y="18"/>
                      <a:pt x="118" y="17"/>
                      <a:pt x="118" y="16"/>
                    </a:cubicBezTo>
                    <a:cubicBezTo>
                      <a:pt x="118" y="16"/>
                      <a:pt x="118" y="16"/>
                      <a:pt x="118" y="15"/>
                    </a:cubicBezTo>
                    <a:cubicBezTo>
                      <a:pt x="117" y="15"/>
                      <a:pt x="117" y="15"/>
                      <a:pt x="117" y="15"/>
                    </a:cubicBezTo>
                    <a:cubicBezTo>
                      <a:pt x="117" y="14"/>
                      <a:pt x="117" y="13"/>
                      <a:pt x="116" y="13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5" y="10"/>
                      <a:pt x="112" y="8"/>
                      <a:pt x="110" y="7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9" y="6"/>
                      <a:pt x="108" y="6"/>
                      <a:pt x="108" y="6"/>
                    </a:cubicBezTo>
                    <a:cubicBezTo>
                      <a:pt x="102" y="3"/>
                      <a:pt x="96" y="1"/>
                      <a:pt x="90" y="1"/>
                    </a:cubicBezTo>
                    <a:cubicBezTo>
                      <a:pt x="90" y="1"/>
                      <a:pt x="90" y="1"/>
                      <a:pt x="90" y="1"/>
                    </a:cubicBezTo>
                    <a:cubicBezTo>
                      <a:pt x="89" y="1"/>
                      <a:pt x="88" y="1"/>
                      <a:pt x="87" y="1"/>
                    </a:cubicBezTo>
                    <a:cubicBezTo>
                      <a:pt x="87" y="0"/>
                      <a:pt x="86" y="0"/>
                      <a:pt x="85" y="0"/>
                    </a:cubicBezTo>
                    <a:cubicBezTo>
                      <a:pt x="83" y="0"/>
                      <a:pt x="81" y="1"/>
                      <a:pt x="80" y="1"/>
                    </a:cubicBezTo>
                    <a:cubicBezTo>
                      <a:pt x="79" y="1"/>
                      <a:pt x="79" y="1"/>
                      <a:pt x="78" y="1"/>
                    </a:cubicBezTo>
                    <a:cubicBezTo>
                      <a:pt x="77" y="1"/>
                      <a:pt x="76" y="1"/>
                      <a:pt x="76" y="1"/>
                    </a:cubicBezTo>
                    <a:cubicBezTo>
                      <a:pt x="75" y="1"/>
                      <a:pt x="74" y="1"/>
                      <a:pt x="73" y="2"/>
                    </a:cubicBezTo>
                    <a:cubicBezTo>
                      <a:pt x="72" y="2"/>
                      <a:pt x="72" y="2"/>
                      <a:pt x="71" y="2"/>
                    </a:cubicBezTo>
                    <a:cubicBezTo>
                      <a:pt x="70" y="2"/>
                      <a:pt x="69" y="2"/>
                      <a:pt x="68" y="3"/>
                    </a:cubicBezTo>
                    <a:cubicBezTo>
                      <a:pt x="68" y="3"/>
                      <a:pt x="67" y="3"/>
                      <a:pt x="66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0" y="6"/>
                      <a:pt x="55" y="9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14"/>
                      <a:pt x="52" y="15"/>
                      <a:pt x="52" y="15"/>
                    </a:cubicBezTo>
                    <a:cubicBezTo>
                      <a:pt x="51" y="15"/>
                      <a:pt x="50" y="15"/>
                      <a:pt x="50" y="15"/>
                    </a:cubicBezTo>
                    <a:cubicBezTo>
                      <a:pt x="49" y="15"/>
                      <a:pt x="48" y="15"/>
                      <a:pt x="47" y="15"/>
                    </a:cubicBezTo>
                    <a:cubicBezTo>
                      <a:pt x="47" y="16"/>
                      <a:pt x="46" y="16"/>
                      <a:pt x="46" y="16"/>
                    </a:cubicBezTo>
                    <a:cubicBezTo>
                      <a:pt x="46" y="16"/>
                      <a:pt x="45" y="16"/>
                      <a:pt x="44" y="16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3" y="17"/>
                      <a:pt x="43" y="17"/>
                      <a:pt x="42" y="18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2" y="19"/>
                      <a:pt x="41" y="19"/>
                      <a:pt x="41" y="19"/>
                    </a:cubicBezTo>
                    <a:cubicBezTo>
                      <a:pt x="41" y="20"/>
                      <a:pt x="40" y="21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3"/>
                      <a:pt x="40" y="24"/>
                      <a:pt x="40" y="24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26"/>
                      <a:pt x="40" y="26"/>
                      <a:pt x="40" y="27"/>
                    </a:cubicBezTo>
                    <a:cubicBezTo>
                      <a:pt x="40" y="27"/>
                      <a:pt x="40" y="28"/>
                      <a:pt x="40" y="28"/>
                    </a:cubicBezTo>
                    <a:cubicBezTo>
                      <a:pt x="40" y="29"/>
                      <a:pt x="40" y="29"/>
                      <a:pt x="40" y="30"/>
                    </a:cubicBezTo>
                    <a:cubicBezTo>
                      <a:pt x="40" y="30"/>
                      <a:pt x="40" y="31"/>
                      <a:pt x="40" y="31"/>
                    </a:cubicBezTo>
                    <a:cubicBezTo>
                      <a:pt x="40" y="32"/>
                      <a:pt x="41" y="32"/>
                      <a:pt x="41" y="33"/>
                    </a:cubicBezTo>
                    <a:cubicBezTo>
                      <a:pt x="41" y="33"/>
                      <a:pt x="41" y="34"/>
                      <a:pt x="41" y="34"/>
                    </a:cubicBezTo>
                    <a:cubicBezTo>
                      <a:pt x="41" y="35"/>
                      <a:pt x="42" y="35"/>
                      <a:pt x="42" y="36"/>
                    </a:cubicBezTo>
                    <a:cubicBezTo>
                      <a:pt x="42" y="36"/>
                      <a:pt x="42" y="37"/>
                      <a:pt x="42" y="37"/>
                    </a:cubicBezTo>
                    <a:cubicBezTo>
                      <a:pt x="43" y="39"/>
                      <a:pt x="43" y="41"/>
                      <a:pt x="4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3"/>
                      <a:pt x="42" y="44"/>
                      <a:pt x="41" y="45"/>
                    </a:cubicBezTo>
                    <a:cubicBezTo>
                      <a:pt x="40" y="47"/>
                      <a:pt x="39" y="50"/>
                      <a:pt x="39" y="54"/>
                    </a:cubicBezTo>
                    <a:cubicBezTo>
                      <a:pt x="39" y="54"/>
                      <a:pt x="39" y="55"/>
                      <a:pt x="39" y="56"/>
                    </a:cubicBezTo>
                    <a:cubicBezTo>
                      <a:pt x="39" y="56"/>
                      <a:pt x="39" y="56"/>
                      <a:pt x="39" y="57"/>
                    </a:cubicBezTo>
                    <a:cubicBezTo>
                      <a:pt x="39" y="57"/>
                      <a:pt x="39" y="57"/>
                      <a:pt x="39" y="58"/>
                    </a:cubicBezTo>
                    <a:cubicBezTo>
                      <a:pt x="39" y="58"/>
                      <a:pt x="40" y="59"/>
                      <a:pt x="40" y="59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1" y="63"/>
                      <a:pt x="42" y="65"/>
                      <a:pt x="44" y="67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5" y="67"/>
                      <a:pt x="45" y="68"/>
                      <a:pt x="45" y="68"/>
                    </a:cubicBezTo>
                    <a:cubicBezTo>
                      <a:pt x="46" y="70"/>
                      <a:pt x="46" y="71"/>
                      <a:pt x="46" y="72"/>
                    </a:cubicBezTo>
                    <a:cubicBezTo>
                      <a:pt x="46" y="73"/>
                      <a:pt x="46" y="73"/>
                      <a:pt x="46" y="74"/>
                    </a:cubicBezTo>
                    <a:cubicBezTo>
                      <a:pt x="48" y="85"/>
                      <a:pt x="53" y="90"/>
                      <a:pt x="56" y="92"/>
                    </a:cubicBezTo>
                    <a:cubicBezTo>
                      <a:pt x="56" y="94"/>
                      <a:pt x="56" y="94"/>
                      <a:pt x="56" y="94"/>
                    </a:cubicBezTo>
                    <a:cubicBezTo>
                      <a:pt x="56" y="105"/>
                      <a:pt x="56" y="105"/>
                      <a:pt x="56" y="105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44" y="112"/>
                      <a:pt x="31" y="118"/>
                      <a:pt x="21" y="124"/>
                    </a:cubicBezTo>
                    <a:cubicBezTo>
                      <a:pt x="17" y="127"/>
                      <a:pt x="14" y="128"/>
                      <a:pt x="11" y="130"/>
                    </a:cubicBezTo>
                    <a:cubicBezTo>
                      <a:pt x="4" y="135"/>
                      <a:pt x="0" y="139"/>
                      <a:pt x="0" y="142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0" y="188"/>
                      <a:pt x="2" y="190"/>
                      <a:pt x="4" y="190"/>
                    </a:cubicBezTo>
                    <a:cubicBezTo>
                      <a:pt x="116" y="190"/>
                      <a:pt x="116" y="190"/>
                      <a:pt x="116" y="190"/>
                    </a:cubicBezTo>
                    <a:cubicBezTo>
                      <a:pt x="156" y="190"/>
                      <a:pt x="156" y="190"/>
                      <a:pt x="156" y="190"/>
                    </a:cubicBezTo>
                    <a:cubicBezTo>
                      <a:pt x="160" y="190"/>
                      <a:pt x="160" y="190"/>
                      <a:pt x="160" y="190"/>
                    </a:cubicBezTo>
                    <a:cubicBezTo>
                      <a:pt x="160" y="186"/>
                      <a:pt x="160" y="186"/>
                      <a:pt x="160" y="186"/>
                    </a:cubicBezTo>
                    <a:cubicBezTo>
                      <a:pt x="160" y="142"/>
                      <a:pt x="160" y="142"/>
                      <a:pt x="160" y="142"/>
                    </a:cubicBezTo>
                    <a:cubicBezTo>
                      <a:pt x="160" y="139"/>
                      <a:pt x="154" y="133"/>
                      <a:pt x="142" y="1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D88C3CC7-FF16-4EE6-8784-43FED74DD3EF}"/>
              </a:ext>
            </a:extLst>
          </p:cNvPr>
          <p:cNvSpPr/>
          <p:nvPr/>
        </p:nvSpPr>
        <p:spPr>
          <a:xfrm rot="16200000">
            <a:off x="9454356" y="638960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F030E608-FD0D-40AE-86BB-0A2CCB27BCF5}"/>
              </a:ext>
            </a:extLst>
          </p:cNvPr>
          <p:cNvSpPr/>
          <p:nvPr/>
        </p:nvSpPr>
        <p:spPr>
          <a:xfrm rot="16200000">
            <a:off x="9454357" y="3226746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B0A604A2-1672-42C6-B255-324211739702}"/>
              </a:ext>
            </a:extLst>
          </p:cNvPr>
          <p:cNvSpPr/>
          <p:nvPr/>
        </p:nvSpPr>
        <p:spPr>
          <a:xfrm rot="5400000" flipH="1">
            <a:off x="1175545" y="3226747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7757CDEF-630C-40F7-970E-216E60E6352C}"/>
              </a:ext>
            </a:extLst>
          </p:cNvPr>
          <p:cNvSpPr/>
          <p:nvPr/>
        </p:nvSpPr>
        <p:spPr>
          <a:xfrm rot="5400000" flipH="1">
            <a:off x="1175544" y="638961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0C01E23-90C8-4759-A5BC-F3CE0BC2D0F9}"/>
              </a:ext>
            </a:extLst>
          </p:cNvPr>
          <p:cNvSpPr txBox="1"/>
          <p:nvPr/>
        </p:nvSpPr>
        <p:spPr>
          <a:xfrm>
            <a:off x="346121" y="2122888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FDC3D59-6312-4B09-A47E-217DF86E4CEC}"/>
              </a:ext>
            </a:extLst>
          </p:cNvPr>
          <p:cNvSpPr txBox="1"/>
          <p:nvPr/>
        </p:nvSpPr>
        <p:spPr>
          <a:xfrm>
            <a:off x="346121" y="4724390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29B0A24-4AF3-471F-B550-B6ECA0A271C1}"/>
              </a:ext>
            </a:extLst>
          </p:cNvPr>
          <p:cNvSpPr txBox="1"/>
          <p:nvPr/>
        </p:nvSpPr>
        <p:spPr>
          <a:xfrm>
            <a:off x="8612651" y="2122888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36AAE29-2C92-4992-B0FE-57B88E4FBC85}"/>
              </a:ext>
            </a:extLst>
          </p:cNvPr>
          <p:cNvSpPr txBox="1"/>
          <p:nvPr/>
        </p:nvSpPr>
        <p:spPr>
          <a:xfrm>
            <a:off x="8612651" y="4724390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AA411C8-A30F-4E87-8335-8474FCDB2DB9}"/>
              </a:ext>
            </a:extLst>
          </p:cNvPr>
          <p:cNvGrpSpPr/>
          <p:nvPr/>
        </p:nvGrpSpPr>
        <p:grpSpPr>
          <a:xfrm>
            <a:off x="5693949" y="3516433"/>
            <a:ext cx="804102" cy="746032"/>
            <a:chOff x="9879013" y="2500313"/>
            <a:chExt cx="285750" cy="265113"/>
          </a:xfrm>
          <a:solidFill>
            <a:schemeClr val="bg2">
              <a:lumMod val="90000"/>
            </a:schemeClr>
          </a:solidFill>
        </p:grpSpPr>
        <p:sp>
          <p:nvSpPr>
            <p:cNvPr id="54" name="Freeform 3859">
              <a:extLst>
                <a:ext uri="{FF2B5EF4-FFF2-40B4-BE49-F238E27FC236}">
                  <a16:creationId xmlns:a16="http://schemas.microsoft.com/office/drawing/2014/main" id="{5609F4E5-2960-4AFA-A9AD-3C7EBEFE8B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60">
              <a:extLst>
                <a:ext uri="{FF2B5EF4-FFF2-40B4-BE49-F238E27FC236}">
                  <a16:creationId xmlns:a16="http://schemas.microsoft.com/office/drawing/2014/main" id="{F0042405-7464-488A-BBDE-6CA0B1E0F2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861">
              <a:extLst>
                <a:ext uri="{FF2B5EF4-FFF2-40B4-BE49-F238E27FC236}">
                  <a16:creationId xmlns:a16="http://schemas.microsoft.com/office/drawing/2014/main" id="{3A526A29-4385-410D-897C-52EA19411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62">
              <a:extLst>
                <a:ext uri="{FF2B5EF4-FFF2-40B4-BE49-F238E27FC236}">
                  <a16:creationId xmlns:a16="http://schemas.microsoft.com/office/drawing/2014/main" id="{DD51999E-C893-48A9-8535-6EC975734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62213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5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LEARNING/GROWTH PERSPECTIVE</a:t>
            </a:r>
          </a:p>
        </p:txBody>
      </p:sp>
      <p:sp>
        <p:nvSpPr>
          <p:cNvPr id="52" name="Rounded Rectangle 81">
            <a:extLst>
              <a:ext uri="{FF2B5EF4-FFF2-40B4-BE49-F238E27FC236}">
                <a16:creationId xmlns:a16="http://schemas.microsoft.com/office/drawing/2014/main" id="{30900DD1-10D4-4CC5-8A1B-5E61D6A8726F}"/>
              </a:ext>
            </a:extLst>
          </p:cNvPr>
          <p:cNvSpPr/>
          <p:nvPr/>
        </p:nvSpPr>
        <p:spPr>
          <a:xfrm>
            <a:off x="2962173" y="217084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ounded Rectangle 72">
            <a:extLst>
              <a:ext uri="{FF2B5EF4-FFF2-40B4-BE49-F238E27FC236}">
                <a16:creationId xmlns:a16="http://schemas.microsoft.com/office/drawing/2014/main" id="{B318F532-3EED-4C3B-A44E-8501DC2EA811}"/>
              </a:ext>
            </a:extLst>
          </p:cNvPr>
          <p:cNvSpPr/>
          <p:nvPr/>
        </p:nvSpPr>
        <p:spPr>
          <a:xfrm>
            <a:off x="9341060" y="1447800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ounded Rectangle 75">
            <a:extLst>
              <a:ext uri="{FF2B5EF4-FFF2-40B4-BE49-F238E27FC236}">
                <a16:creationId xmlns:a16="http://schemas.microsoft.com/office/drawing/2014/main" id="{8E056C9B-117C-46A2-9865-3A1EAB43F539}"/>
              </a:ext>
            </a:extLst>
          </p:cNvPr>
          <p:cNvSpPr/>
          <p:nvPr/>
        </p:nvSpPr>
        <p:spPr>
          <a:xfrm>
            <a:off x="2962173" y="144780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accent1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4C1E79D-0449-4A3A-BDF1-B7C21D8C9BFE}"/>
              </a:ext>
            </a:extLst>
          </p:cNvPr>
          <p:cNvSpPr txBox="1"/>
          <p:nvPr/>
        </p:nvSpPr>
        <p:spPr>
          <a:xfrm>
            <a:off x="3431512" y="160483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8CCF5C3-35D5-438D-B1A1-B391E4C87D74}"/>
              </a:ext>
            </a:extLst>
          </p:cNvPr>
          <p:cNvSpPr txBox="1"/>
          <p:nvPr/>
        </p:nvSpPr>
        <p:spPr>
          <a:xfrm>
            <a:off x="5557808" y="160483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57" name="Rounded Rectangle 76">
            <a:extLst>
              <a:ext uri="{FF2B5EF4-FFF2-40B4-BE49-F238E27FC236}">
                <a16:creationId xmlns:a16="http://schemas.microsoft.com/office/drawing/2014/main" id="{F0167C70-F7E1-45CB-A597-2788760DBE68}"/>
              </a:ext>
            </a:extLst>
          </p:cNvPr>
          <p:cNvSpPr/>
          <p:nvPr/>
        </p:nvSpPr>
        <p:spPr>
          <a:xfrm>
            <a:off x="835877" y="217084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77">
            <a:extLst>
              <a:ext uri="{FF2B5EF4-FFF2-40B4-BE49-F238E27FC236}">
                <a16:creationId xmlns:a16="http://schemas.microsoft.com/office/drawing/2014/main" id="{D05DC849-1D99-422D-9887-1F0EF21B015D}"/>
              </a:ext>
            </a:extLst>
          </p:cNvPr>
          <p:cNvSpPr/>
          <p:nvPr/>
        </p:nvSpPr>
        <p:spPr>
          <a:xfrm>
            <a:off x="835877" y="289388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ounded Rectangle 78">
            <a:extLst>
              <a:ext uri="{FF2B5EF4-FFF2-40B4-BE49-F238E27FC236}">
                <a16:creationId xmlns:a16="http://schemas.microsoft.com/office/drawing/2014/main" id="{21EA2319-E031-4C24-97DB-A7C7217BBD75}"/>
              </a:ext>
            </a:extLst>
          </p:cNvPr>
          <p:cNvSpPr/>
          <p:nvPr/>
        </p:nvSpPr>
        <p:spPr>
          <a:xfrm>
            <a:off x="835877" y="361692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ounded Rectangle 79">
            <a:extLst>
              <a:ext uri="{FF2B5EF4-FFF2-40B4-BE49-F238E27FC236}">
                <a16:creationId xmlns:a16="http://schemas.microsoft.com/office/drawing/2014/main" id="{9FB01B4F-0A61-4148-ACB1-6F007336C62F}"/>
              </a:ext>
            </a:extLst>
          </p:cNvPr>
          <p:cNvSpPr/>
          <p:nvPr/>
        </p:nvSpPr>
        <p:spPr>
          <a:xfrm>
            <a:off x="835877" y="433996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ounded Rectangle 82">
            <a:extLst>
              <a:ext uri="{FF2B5EF4-FFF2-40B4-BE49-F238E27FC236}">
                <a16:creationId xmlns:a16="http://schemas.microsoft.com/office/drawing/2014/main" id="{29849218-BC89-48A6-9FC5-DB736B4F5E8A}"/>
              </a:ext>
            </a:extLst>
          </p:cNvPr>
          <p:cNvSpPr/>
          <p:nvPr/>
        </p:nvSpPr>
        <p:spPr>
          <a:xfrm>
            <a:off x="2962173" y="289388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ounded Rectangle 83">
            <a:extLst>
              <a:ext uri="{FF2B5EF4-FFF2-40B4-BE49-F238E27FC236}">
                <a16:creationId xmlns:a16="http://schemas.microsoft.com/office/drawing/2014/main" id="{F7DE142E-1626-441F-BA29-B405D6AA972F}"/>
              </a:ext>
            </a:extLst>
          </p:cNvPr>
          <p:cNvSpPr/>
          <p:nvPr/>
        </p:nvSpPr>
        <p:spPr>
          <a:xfrm>
            <a:off x="2962173" y="361692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ounded Rectangle 84">
            <a:extLst>
              <a:ext uri="{FF2B5EF4-FFF2-40B4-BE49-F238E27FC236}">
                <a16:creationId xmlns:a16="http://schemas.microsoft.com/office/drawing/2014/main" id="{FC67798E-D16A-4A5F-81D1-7181E4454C0F}"/>
              </a:ext>
            </a:extLst>
          </p:cNvPr>
          <p:cNvSpPr/>
          <p:nvPr/>
        </p:nvSpPr>
        <p:spPr>
          <a:xfrm>
            <a:off x="2962173" y="433996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ounded Rectangle 96">
            <a:extLst>
              <a:ext uri="{FF2B5EF4-FFF2-40B4-BE49-F238E27FC236}">
                <a16:creationId xmlns:a16="http://schemas.microsoft.com/office/drawing/2014/main" id="{13348114-B047-4ABE-9615-02F9C9126763}"/>
              </a:ext>
            </a:extLst>
          </p:cNvPr>
          <p:cNvSpPr/>
          <p:nvPr/>
        </p:nvSpPr>
        <p:spPr>
          <a:xfrm>
            <a:off x="9341060" y="217084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97">
            <a:extLst>
              <a:ext uri="{FF2B5EF4-FFF2-40B4-BE49-F238E27FC236}">
                <a16:creationId xmlns:a16="http://schemas.microsoft.com/office/drawing/2014/main" id="{87D70E18-DAF3-463C-A0E1-F9E404DD0360}"/>
              </a:ext>
            </a:extLst>
          </p:cNvPr>
          <p:cNvSpPr/>
          <p:nvPr/>
        </p:nvSpPr>
        <p:spPr>
          <a:xfrm>
            <a:off x="9341060" y="289388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98">
            <a:extLst>
              <a:ext uri="{FF2B5EF4-FFF2-40B4-BE49-F238E27FC236}">
                <a16:creationId xmlns:a16="http://schemas.microsoft.com/office/drawing/2014/main" id="{647FD2E1-9D36-4C9C-A48C-F974D60DF14A}"/>
              </a:ext>
            </a:extLst>
          </p:cNvPr>
          <p:cNvSpPr/>
          <p:nvPr/>
        </p:nvSpPr>
        <p:spPr>
          <a:xfrm>
            <a:off x="9341060" y="361692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ounded Rectangle 99">
            <a:extLst>
              <a:ext uri="{FF2B5EF4-FFF2-40B4-BE49-F238E27FC236}">
                <a16:creationId xmlns:a16="http://schemas.microsoft.com/office/drawing/2014/main" id="{BD98120E-015A-4EEF-BA76-3254E591AC0B}"/>
              </a:ext>
            </a:extLst>
          </p:cNvPr>
          <p:cNvSpPr/>
          <p:nvPr/>
        </p:nvSpPr>
        <p:spPr>
          <a:xfrm>
            <a:off x="9341060" y="433996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40305A6-4341-4B97-AF83-9294FC6EA63D}"/>
              </a:ext>
            </a:extLst>
          </p:cNvPr>
          <p:cNvSpPr txBox="1"/>
          <p:nvPr/>
        </p:nvSpPr>
        <p:spPr>
          <a:xfrm>
            <a:off x="7684103" y="160483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1036EB8-6531-4024-B522-C5B0CBD9CB88}"/>
              </a:ext>
            </a:extLst>
          </p:cNvPr>
          <p:cNvSpPr txBox="1"/>
          <p:nvPr/>
        </p:nvSpPr>
        <p:spPr>
          <a:xfrm>
            <a:off x="1305217" y="232787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C82FD33-AE4E-4E5F-89AE-E423595AE948}"/>
              </a:ext>
            </a:extLst>
          </p:cNvPr>
          <p:cNvSpPr txBox="1"/>
          <p:nvPr/>
        </p:nvSpPr>
        <p:spPr>
          <a:xfrm>
            <a:off x="1305217" y="3050915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F372B33-CD3D-4725-9B1E-14B86655D2C8}"/>
              </a:ext>
            </a:extLst>
          </p:cNvPr>
          <p:cNvSpPr txBox="1"/>
          <p:nvPr/>
        </p:nvSpPr>
        <p:spPr>
          <a:xfrm>
            <a:off x="1305217" y="3773955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16C7348-7C2F-4BAA-BC54-6CF8433B67E2}"/>
              </a:ext>
            </a:extLst>
          </p:cNvPr>
          <p:cNvSpPr txBox="1"/>
          <p:nvPr/>
        </p:nvSpPr>
        <p:spPr>
          <a:xfrm>
            <a:off x="1305217" y="4496995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8D5C86C-3181-4C20-AD34-1F53FCB05854}"/>
              </a:ext>
            </a:extLst>
          </p:cNvPr>
          <p:cNvSpPr txBox="1"/>
          <p:nvPr/>
        </p:nvSpPr>
        <p:spPr>
          <a:xfrm>
            <a:off x="10054058" y="1604836"/>
            <a:ext cx="589072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OTALS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95C1421-B345-44B4-9137-A898AAAD0906}"/>
              </a:ext>
            </a:extLst>
          </p:cNvPr>
          <p:cNvGrpSpPr/>
          <p:nvPr/>
        </p:nvGrpSpPr>
        <p:grpSpPr>
          <a:xfrm>
            <a:off x="9658761" y="3086414"/>
            <a:ext cx="1379661" cy="175225"/>
            <a:chOff x="7377938" y="4427885"/>
            <a:chExt cx="1084524" cy="137741"/>
          </a:xfrm>
        </p:grpSpPr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74A49788-203E-4151-B693-FB2E2C2F9353}"/>
                </a:ext>
              </a:extLst>
            </p:cNvPr>
            <p:cNvGrpSpPr/>
            <p:nvPr/>
          </p:nvGrpSpPr>
          <p:grpSpPr>
            <a:xfrm>
              <a:off x="7377938" y="4429618"/>
              <a:ext cx="1084524" cy="136008"/>
              <a:chOff x="6624989" y="2237539"/>
              <a:chExt cx="2005135" cy="251460"/>
            </a:xfrm>
          </p:grpSpPr>
          <p:sp>
            <p:nvSpPr>
              <p:cNvPr id="166" name="Rounded Rectangle 192">
                <a:extLst>
                  <a:ext uri="{FF2B5EF4-FFF2-40B4-BE49-F238E27FC236}">
                    <a16:creationId xmlns:a16="http://schemas.microsoft.com/office/drawing/2014/main" id="{5AA10CD2-6287-4ED0-86E5-EE59E554322F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Rounded Rectangle 193">
                <a:extLst>
                  <a:ext uri="{FF2B5EF4-FFF2-40B4-BE49-F238E27FC236}">
                    <a16:creationId xmlns:a16="http://schemas.microsoft.com/office/drawing/2014/main" id="{F9F832F8-C55C-4D22-905B-391959A1A2DF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1682516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68D0DF84-A74E-4525-8FAC-54FB20638E68}"/>
                </a:ext>
              </a:extLst>
            </p:cNvPr>
            <p:cNvSpPr/>
            <p:nvPr/>
          </p:nvSpPr>
          <p:spPr>
            <a:xfrm>
              <a:off x="8150551" y="4427885"/>
              <a:ext cx="137415" cy="137415"/>
            </a:xfrm>
            <a:prstGeom prst="ellipse">
              <a:avLst/>
            </a:prstGeom>
            <a:solidFill>
              <a:schemeClr val="tx2">
                <a:alpha val="73000"/>
              </a:schemeClr>
            </a:solidFill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433F7B4-147B-4BB8-9D6B-C9BBD1FE19C7}"/>
              </a:ext>
            </a:extLst>
          </p:cNvPr>
          <p:cNvGrpSpPr/>
          <p:nvPr/>
        </p:nvGrpSpPr>
        <p:grpSpPr>
          <a:xfrm>
            <a:off x="9658761" y="3809453"/>
            <a:ext cx="1379661" cy="175225"/>
            <a:chOff x="2025389" y="3749996"/>
            <a:chExt cx="2005135" cy="254664"/>
          </a:xfrm>
        </p:grpSpPr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F33E097D-3318-47B8-BEFF-3E7786BF06EB}"/>
                </a:ext>
              </a:extLst>
            </p:cNvPr>
            <p:cNvGrpSpPr/>
            <p:nvPr/>
          </p:nvGrpSpPr>
          <p:grpSpPr>
            <a:xfrm>
              <a:off x="2025389" y="3753200"/>
              <a:ext cx="2005135" cy="251460"/>
              <a:chOff x="6624989" y="2237539"/>
              <a:chExt cx="2005135" cy="251460"/>
            </a:xfrm>
          </p:grpSpPr>
          <p:sp>
            <p:nvSpPr>
              <p:cNvPr id="162" name="Rounded Rectangle 188">
                <a:extLst>
                  <a:ext uri="{FF2B5EF4-FFF2-40B4-BE49-F238E27FC236}">
                    <a16:creationId xmlns:a16="http://schemas.microsoft.com/office/drawing/2014/main" id="{446E97BE-2D1D-418E-BC37-90541607CCA6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Rounded Rectangle 189">
                <a:extLst>
                  <a:ext uri="{FF2B5EF4-FFF2-40B4-BE49-F238E27FC236}">
                    <a16:creationId xmlns:a16="http://schemas.microsoft.com/office/drawing/2014/main" id="{526A19DF-AD60-4435-BCF1-EE371570A9CA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1351307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12F5DD93-5617-42AB-8DBA-D6E669188CF6}"/>
                </a:ext>
              </a:extLst>
            </p:cNvPr>
            <p:cNvSpPr/>
            <p:nvPr/>
          </p:nvSpPr>
          <p:spPr>
            <a:xfrm>
              <a:off x="3122635" y="3749996"/>
              <a:ext cx="254061" cy="254061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20D51A7-D9D2-4828-A152-37F709128896}"/>
              </a:ext>
            </a:extLst>
          </p:cNvPr>
          <p:cNvGrpSpPr/>
          <p:nvPr/>
        </p:nvGrpSpPr>
        <p:grpSpPr>
          <a:xfrm>
            <a:off x="9658760" y="4532493"/>
            <a:ext cx="1379663" cy="175225"/>
            <a:chOff x="2025387" y="3749996"/>
            <a:chExt cx="2005137" cy="254664"/>
          </a:xfrm>
        </p:grpSpPr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0C8DCE09-4C38-4141-A028-A10D614D4FEA}"/>
                </a:ext>
              </a:extLst>
            </p:cNvPr>
            <p:cNvGrpSpPr/>
            <p:nvPr/>
          </p:nvGrpSpPr>
          <p:grpSpPr>
            <a:xfrm>
              <a:off x="2025387" y="3753200"/>
              <a:ext cx="2005137" cy="251460"/>
              <a:chOff x="6624987" y="2237539"/>
              <a:chExt cx="2005137" cy="251460"/>
            </a:xfrm>
          </p:grpSpPr>
          <p:sp>
            <p:nvSpPr>
              <p:cNvPr id="158" name="Rounded Rectangle 184">
                <a:extLst>
                  <a:ext uri="{FF2B5EF4-FFF2-40B4-BE49-F238E27FC236}">
                    <a16:creationId xmlns:a16="http://schemas.microsoft.com/office/drawing/2014/main" id="{EE638A07-B49A-40C1-9827-3B6E877FB31E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Rounded Rectangle 185">
                <a:extLst>
                  <a:ext uri="{FF2B5EF4-FFF2-40B4-BE49-F238E27FC236}">
                    <a16:creationId xmlns:a16="http://schemas.microsoft.com/office/drawing/2014/main" id="{2B0090C4-0D7D-4BC9-A506-09287B433BCA}"/>
                  </a:ext>
                </a:extLst>
              </p:cNvPr>
              <p:cNvSpPr/>
              <p:nvPr/>
            </p:nvSpPr>
            <p:spPr>
              <a:xfrm>
                <a:off x="6624987" y="2237539"/>
                <a:ext cx="1335638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32504D91-9C95-4DDA-ACBD-7FDF1C4C70E1}"/>
                </a:ext>
              </a:extLst>
            </p:cNvPr>
            <p:cNvSpPr/>
            <p:nvPr/>
          </p:nvSpPr>
          <p:spPr>
            <a:xfrm>
              <a:off x="3106966" y="3749996"/>
              <a:ext cx="254061" cy="254061"/>
            </a:xfrm>
            <a:prstGeom prst="ellipse">
              <a:avLst/>
            </a:prstGeom>
            <a:solidFill>
              <a:schemeClr val="tx2">
                <a:alpha val="73000"/>
              </a:schemeClr>
            </a:solidFill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262E872-7437-43EA-8C74-941090062D25}"/>
              </a:ext>
            </a:extLst>
          </p:cNvPr>
          <p:cNvGrpSpPr/>
          <p:nvPr/>
        </p:nvGrpSpPr>
        <p:grpSpPr>
          <a:xfrm>
            <a:off x="9658761" y="2365578"/>
            <a:ext cx="1398443" cy="179805"/>
            <a:chOff x="7377938" y="4429618"/>
            <a:chExt cx="1099288" cy="141341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6A884A2D-E281-402D-8500-F137AD833358}"/>
                </a:ext>
              </a:extLst>
            </p:cNvPr>
            <p:cNvGrpSpPr/>
            <p:nvPr/>
          </p:nvGrpSpPr>
          <p:grpSpPr>
            <a:xfrm>
              <a:off x="7377938" y="4429618"/>
              <a:ext cx="1084524" cy="136008"/>
              <a:chOff x="6624989" y="2237539"/>
              <a:chExt cx="2005135" cy="251460"/>
            </a:xfrm>
          </p:grpSpPr>
          <p:sp>
            <p:nvSpPr>
              <p:cNvPr id="154" name="Rounded Rectangle 213">
                <a:extLst>
                  <a:ext uri="{FF2B5EF4-FFF2-40B4-BE49-F238E27FC236}">
                    <a16:creationId xmlns:a16="http://schemas.microsoft.com/office/drawing/2014/main" id="{648A40B8-1C21-4DA7-BB9D-92E556380AAD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Rounded Rectangle 214">
                <a:extLst>
                  <a:ext uri="{FF2B5EF4-FFF2-40B4-BE49-F238E27FC236}">
                    <a16:creationId xmlns:a16="http://schemas.microsoft.com/office/drawing/2014/main" id="{89F13D79-46E8-4E66-996B-40F68E205690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1997211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BFE1FC10-059C-41F4-9EA3-6D21CBA1DDE6}"/>
                </a:ext>
              </a:extLst>
            </p:cNvPr>
            <p:cNvSpPr/>
            <p:nvPr/>
          </p:nvSpPr>
          <p:spPr>
            <a:xfrm>
              <a:off x="8339811" y="4433544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29DDDCB-05EF-44BE-AC30-753F36EE4592}"/>
              </a:ext>
            </a:extLst>
          </p:cNvPr>
          <p:cNvGrpSpPr/>
          <p:nvPr/>
        </p:nvGrpSpPr>
        <p:grpSpPr>
          <a:xfrm>
            <a:off x="3361638" y="2363581"/>
            <a:ext cx="1216132" cy="174810"/>
            <a:chOff x="2391858" y="3859681"/>
            <a:chExt cx="955977" cy="137415"/>
          </a:xfrm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0F64C25A-5410-479F-9B68-AB07FDC35F87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C15F17AC-8134-40FB-AF7A-D42CCDED1834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5ACA6C4B-875D-4441-BFC8-E86E04FA1989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9A9EDA6-88E7-422F-9C36-DF6F07A56813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905239ED-A0AD-4EA0-8BCD-C69A1024B6A6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EFAB518-19DF-496F-BE81-B2B0361CA956}"/>
              </a:ext>
            </a:extLst>
          </p:cNvPr>
          <p:cNvGrpSpPr/>
          <p:nvPr/>
        </p:nvGrpSpPr>
        <p:grpSpPr>
          <a:xfrm>
            <a:off x="3361638" y="3081876"/>
            <a:ext cx="1216132" cy="174810"/>
            <a:chOff x="2391858" y="3859681"/>
            <a:chExt cx="955977" cy="137415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36D87B05-1B70-419B-83DE-EB4EBCD5B606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2AA9DC6F-A9B7-442C-9666-3AF30F41F791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82F4096E-81A3-4053-B039-3F9AB1E76092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C8D7194-F8DB-419B-A902-B44BE0C2A42C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8CF7F4CC-7195-466C-BD4C-890C70CBF3A0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F587520-984D-43CC-8984-C88820444D61}"/>
              </a:ext>
            </a:extLst>
          </p:cNvPr>
          <p:cNvGrpSpPr/>
          <p:nvPr/>
        </p:nvGrpSpPr>
        <p:grpSpPr>
          <a:xfrm>
            <a:off x="3361638" y="3809452"/>
            <a:ext cx="1216132" cy="174810"/>
            <a:chOff x="2391858" y="3859681"/>
            <a:chExt cx="955977" cy="137415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DC745926-E917-4BC6-A9AC-938A2534099B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5051B6DA-6A02-492E-96E6-CA265C2A3897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E4E62532-51DE-4F21-B6E5-912CC6BE8E89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D5C9E030-F856-4F1A-9411-EBC21B4E7DBC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42BB26B-9F60-4837-97FE-BCDE869B7663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76CAE2A-85EE-43F2-BCF5-85B34C19E29E}"/>
              </a:ext>
            </a:extLst>
          </p:cNvPr>
          <p:cNvGrpSpPr/>
          <p:nvPr/>
        </p:nvGrpSpPr>
        <p:grpSpPr>
          <a:xfrm>
            <a:off x="3361638" y="4532492"/>
            <a:ext cx="1216132" cy="174810"/>
            <a:chOff x="2391858" y="3859681"/>
            <a:chExt cx="955977" cy="137415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D2CCD09E-F1CE-456F-92F7-FC66CEE99933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CA46147D-BACB-436E-A50A-36BAF6B530F3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A18F2ECA-BAAD-4D46-BD17-60939A844C8B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74909C2-8369-4A26-ABFF-DF8758F54D75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DE1C4203-E154-448F-A33C-A3D067EE445F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BFD5BB1-0762-416A-97D5-33A727ACE145}"/>
              </a:ext>
            </a:extLst>
          </p:cNvPr>
          <p:cNvGrpSpPr/>
          <p:nvPr/>
        </p:nvGrpSpPr>
        <p:grpSpPr>
          <a:xfrm>
            <a:off x="5491677" y="2363581"/>
            <a:ext cx="1216132" cy="2343721"/>
            <a:chOff x="4096109" y="3859681"/>
            <a:chExt cx="955977" cy="1842352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99CBF493-9CD5-4135-8D96-CBB1D980377E}"/>
                </a:ext>
              </a:extLst>
            </p:cNvPr>
            <p:cNvGrpSpPr/>
            <p:nvPr/>
          </p:nvGrpSpPr>
          <p:grpSpPr>
            <a:xfrm>
              <a:off x="4096109" y="3859681"/>
              <a:ext cx="955977" cy="137415"/>
              <a:chOff x="2391858" y="3859681"/>
              <a:chExt cx="955977" cy="137415"/>
            </a:xfrm>
          </p:grpSpPr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E0FA79F-42FF-417C-874A-2F7F5092F0C3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49398133-E3B4-46CE-849B-2D392C0988D3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15F6FC21-0A6B-4D52-AAA5-879B53AA1BDF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60A76978-2DBF-4FB9-9517-93B2872F4E59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A92ADC1A-577A-4F9D-99F9-233A3DB79FC1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32C2F2CB-32DE-4A61-99C3-6F72452FDE29}"/>
                </a:ext>
              </a:extLst>
            </p:cNvPr>
            <p:cNvGrpSpPr/>
            <p:nvPr/>
          </p:nvGrpSpPr>
          <p:grpSpPr>
            <a:xfrm>
              <a:off x="4096109" y="4424318"/>
              <a:ext cx="955977" cy="137415"/>
              <a:chOff x="2391858" y="3859681"/>
              <a:chExt cx="955977" cy="137415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CE61A4F4-2123-440E-B167-4B6F59FDC7D4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464A318C-4808-415D-8D21-1029EDBE5963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F27890A3-50B0-4B1A-8C2D-8BC8ABA0829A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C28D782F-6DA2-48B8-A9A6-10067EE0EDD0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53F0E53D-04EA-43FE-A9A2-7224B062B98A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C19B90EE-9C71-4860-AD40-0A2EBA42BD21}"/>
                </a:ext>
              </a:extLst>
            </p:cNvPr>
            <p:cNvGrpSpPr/>
            <p:nvPr/>
          </p:nvGrpSpPr>
          <p:grpSpPr>
            <a:xfrm>
              <a:off x="4096109" y="4996251"/>
              <a:ext cx="955977" cy="137415"/>
              <a:chOff x="2391858" y="3859681"/>
              <a:chExt cx="955977" cy="137415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B3A3932-03B2-48D1-B208-3E2AF0263406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3DECD5D4-22D4-405B-90E8-2492D6B0AD4D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5B06D7D8-9332-4686-8B8E-F77F39C83F29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E1CF87CC-15B4-4A08-9CBC-6C221ED84554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3AB43D97-F70A-4E03-B9D7-51E3EB42AA67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A2794A44-DBBF-46BE-B323-A1122779D187}"/>
                </a:ext>
              </a:extLst>
            </p:cNvPr>
            <p:cNvGrpSpPr/>
            <p:nvPr/>
          </p:nvGrpSpPr>
          <p:grpSpPr>
            <a:xfrm>
              <a:off x="4096109" y="5564618"/>
              <a:ext cx="955977" cy="137415"/>
              <a:chOff x="2391858" y="3859681"/>
              <a:chExt cx="955977" cy="137415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DA55A4E1-9A04-4D57-B909-DAA306EAED12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9C38D35F-6150-4D83-9A89-6971501AE9A3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E56F0E8E-A234-497D-9CD9-356D3976940C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F52A2BA4-6873-4571-B483-457D102FF9E4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21307D8B-4EE7-4806-B4C4-6A94C8B7D55A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E5ADFCD-7F99-4EA3-A753-F4387AD5347E}"/>
              </a:ext>
            </a:extLst>
          </p:cNvPr>
          <p:cNvGrpSpPr/>
          <p:nvPr/>
        </p:nvGrpSpPr>
        <p:grpSpPr>
          <a:xfrm>
            <a:off x="7621713" y="2363581"/>
            <a:ext cx="1216132" cy="2343721"/>
            <a:chOff x="5808224" y="3859681"/>
            <a:chExt cx="955977" cy="1842352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0BAA5B7B-1FB8-41C2-9E9E-5A32BB490B3E}"/>
                </a:ext>
              </a:extLst>
            </p:cNvPr>
            <p:cNvGrpSpPr/>
            <p:nvPr/>
          </p:nvGrpSpPr>
          <p:grpSpPr>
            <a:xfrm>
              <a:off x="5808224" y="3859681"/>
              <a:ext cx="955977" cy="137415"/>
              <a:chOff x="2391858" y="3859681"/>
              <a:chExt cx="955977" cy="137415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A3288AB8-273C-457A-B714-85432FE0BB86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AEDE8AD7-7867-4BDA-897C-61909A39A52F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919D8ECD-8777-4384-9A56-4CF4DF13B751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6B3B7BFE-1BFA-4C65-9344-F89249241361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94C1DBB0-C9DF-4557-B89C-77B912DCB6EC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A68D8D85-2445-4FA2-8D26-0A22A70A26B4}"/>
                </a:ext>
              </a:extLst>
            </p:cNvPr>
            <p:cNvGrpSpPr/>
            <p:nvPr/>
          </p:nvGrpSpPr>
          <p:grpSpPr>
            <a:xfrm>
              <a:off x="5808224" y="4424318"/>
              <a:ext cx="955977" cy="137415"/>
              <a:chOff x="2391858" y="3859681"/>
              <a:chExt cx="955977" cy="137415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05F2449C-27B8-49B9-8E9C-ECF74FDAB0BC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0C81C01C-A947-411E-BBA4-600F6290CCBA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C106DA0B-491A-4D51-BABF-130E696B5D4B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133A15A0-50FD-4D3F-8EAA-545D7C3F7180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27184517-854F-41BD-B500-001C9F57029D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AEF228EB-8D9D-4C92-BF09-82B961805C75}"/>
                </a:ext>
              </a:extLst>
            </p:cNvPr>
            <p:cNvGrpSpPr/>
            <p:nvPr/>
          </p:nvGrpSpPr>
          <p:grpSpPr>
            <a:xfrm>
              <a:off x="5808224" y="4996251"/>
              <a:ext cx="955977" cy="137415"/>
              <a:chOff x="2391858" y="3859681"/>
              <a:chExt cx="955977" cy="137415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F7780A7F-AC23-4CE8-9328-0970B543AFA3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37C3F8D-CC78-4E3F-BCC3-79B929365617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8FF06C62-B722-4035-BF6C-A75F2E952DEF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E6F3FCC0-744E-42E3-9C56-2677DA412C05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7E8DE7A-E83A-4438-B295-4D7B713CCCE8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E4D0107C-F4EA-4901-8C0B-983DFF414770}"/>
                </a:ext>
              </a:extLst>
            </p:cNvPr>
            <p:cNvGrpSpPr/>
            <p:nvPr/>
          </p:nvGrpSpPr>
          <p:grpSpPr>
            <a:xfrm>
              <a:off x="5808224" y="5564618"/>
              <a:ext cx="955977" cy="137415"/>
              <a:chOff x="2391858" y="3859681"/>
              <a:chExt cx="955977" cy="137415"/>
            </a:xfrm>
          </p:grpSpPr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2F713837-D0B7-491A-B821-129141DC27A3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0342F4EF-4F2C-4006-A37C-92FE699FDB34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C89FA8E5-0EF1-4C25-A0D4-AE6A2E65F6F0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73E585D1-A111-440D-BB9E-026F87532AB7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BA6409FF-0F2F-4A67-A8D7-B5DAFAF24152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68" name="TextBox 167">
            <a:extLst>
              <a:ext uri="{FF2B5EF4-FFF2-40B4-BE49-F238E27FC236}">
                <a16:creationId xmlns:a16="http://schemas.microsoft.com/office/drawing/2014/main" id="{0BCBFDC7-90E6-43D3-9814-3E550C42DC1E}"/>
              </a:ext>
            </a:extLst>
          </p:cNvPr>
          <p:cNvSpPr txBox="1"/>
          <p:nvPr/>
        </p:nvSpPr>
        <p:spPr>
          <a:xfrm>
            <a:off x="838200" y="5263977"/>
            <a:ext cx="105156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  <a:r>
              <a:rPr lang="en-US" sz="1600" dirty="0" err="1"/>
              <a:t>Etiam</a:t>
            </a:r>
            <a:r>
              <a:rPr lang="en-US" sz="1600" dirty="0"/>
              <a:t> cursus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lacus</a:t>
            </a:r>
            <a:r>
              <a:rPr lang="en-US" sz="1600" dirty="0"/>
              <a:t>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rhoncus</a:t>
            </a:r>
            <a:r>
              <a:rPr lang="en-US" sz="1600" dirty="0"/>
              <a:t>. </a:t>
            </a:r>
            <a:r>
              <a:rPr lang="en-US" sz="1600" dirty="0" err="1"/>
              <a:t>Pellentesque</a:t>
            </a:r>
            <a:r>
              <a:rPr lang="en-US" sz="1600" dirty="0"/>
              <a:t> ac </a:t>
            </a:r>
            <a:r>
              <a:rPr lang="en-US" sz="1600" dirty="0" err="1"/>
              <a:t>hendrerit</a:t>
            </a:r>
            <a:r>
              <a:rPr lang="en-US" sz="1600" dirty="0"/>
              <a:t> </a:t>
            </a:r>
            <a:r>
              <a:rPr lang="en-US" sz="1600" dirty="0" err="1"/>
              <a:t>enim</a:t>
            </a:r>
            <a:r>
              <a:rPr lang="en-US" sz="1600" dirty="0"/>
              <a:t>. </a:t>
            </a:r>
            <a:r>
              <a:rPr lang="en-US" sz="1600" dirty="0" err="1"/>
              <a:t>Fusce</a:t>
            </a:r>
            <a:r>
              <a:rPr lang="en-US" sz="1600" dirty="0"/>
              <a:t> id </a:t>
            </a:r>
            <a:r>
              <a:rPr lang="en-US" sz="1600" dirty="0" err="1"/>
              <a:t>odio</a:t>
            </a:r>
            <a:r>
              <a:rPr lang="en-US" sz="1600" dirty="0"/>
              <a:t> et </a:t>
            </a:r>
            <a:r>
              <a:rPr lang="en-US" sz="1600" dirty="0" err="1"/>
              <a:t>erat</a:t>
            </a:r>
            <a:r>
              <a:rPr lang="en-US" sz="1600" dirty="0"/>
              <a:t> </a:t>
            </a:r>
            <a:r>
              <a:rPr lang="en-US" sz="1600" dirty="0" err="1"/>
              <a:t>tincidunt</a:t>
            </a:r>
            <a:r>
              <a:rPr lang="en-US" sz="1600" dirty="0"/>
              <a:t> </a:t>
            </a:r>
            <a:r>
              <a:rPr lang="en-US" sz="1600" dirty="0" err="1"/>
              <a:t>sodales</a:t>
            </a:r>
            <a:r>
              <a:rPr lang="en-US" sz="1600" dirty="0"/>
              <a:t> at a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r>
              <a:rPr lang="en-US" sz="1600" dirty="0" err="1"/>
              <a:t>Nulla</a:t>
            </a:r>
            <a:r>
              <a:rPr lang="en-US" sz="1600" dirty="0"/>
              <a:t> </a:t>
            </a:r>
            <a:r>
              <a:rPr lang="en-US" sz="1600" dirty="0" err="1"/>
              <a:t>facilisi</a:t>
            </a:r>
            <a:r>
              <a:rPr lang="en-US" sz="1600" dirty="0"/>
              <a:t>. </a:t>
            </a:r>
            <a:r>
              <a:rPr lang="en-US" sz="1600" dirty="0" err="1"/>
              <a:t>Praesent</a:t>
            </a:r>
            <a:r>
              <a:rPr lang="en-US" sz="1600" dirty="0"/>
              <a:t> </a:t>
            </a:r>
            <a:r>
              <a:rPr lang="en-US" sz="1600" dirty="0" err="1"/>
              <a:t>mattis</a:t>
            </a:r>
            <a:r>
              <a:rPr lang="en-US" sz="1600" dirty="0"/>
              <a:t>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eros</a:t>
            </a:r>
            <a:r>
              <a:rPr lang="en-US" sz="1600" dirty="0"/>
              <a:t>, ac </a:t>
            </a:r>
            <a:r>
              <a:rPr lang="en-US" sz="1600" dirty="0" err="1"/>
              <a:t>fringilla</a:t>
            </a:r>
            <a:r>
              <a:rPr lang="en-US" sz="1600" dirty="0"/>
              <a:t> mi </a:t>
            </a:r>
            <a:r>
              <a:rPr lang="en-US" sz="1600" dirty="0" err="1"/>
              <a:t>auctor</a:t>
            </a:r>
            <a:r>
              <a:rPr lang="en-US" sz="1600" dirty="0"/>
              <a:t> vitae. </a:t>
            </a:r>
          </a:p>
        </p:txBody>
      </p:sp>
    </p:spTree>
    <p:extLst>
      <p:ext uri="{BB962C8B-B14F-4D97-AF65-F5344CB8AC3E}">
        <p14:creationId xmlns:p14="http://schemas.microsoft.com/office/powerpoint/2010/main" val="31761366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6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CF18BD6A-7A50-4D14-99B3-5C321D74392B}"/>
              </a:ext>
            </a:extLst>
          </p:cNvPr>
          <p:cNvSpPr/>
          <p:nvPr/>
        </p:nvSpPr>
        <p:spPr>
          <a:xfrm>
            <a:off x="2126458" y="158016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1C54160-E82D-4FDD-B13C-7088B9F50E97}"/>
              </a:ext>
            </a:extLst>
          </p:cNvPr>
          <p:cNvSpPr/>
          <p:nvPr/>
        </p:nvSpPr>
        <p:spPr>
          <a:xfrm>
            <a:off x="2126458" y="4453728"/>
            <a:ext cx="1419225" cy="419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4160C21-F361-48A2-A166-F75EBD284F0F}"/>
              </a:ext>
            </a:extLst>
          </p:cNvPr>
          <p:cNvSpPr/>
          <p:nvPr/>
        </p:nvSpPr>
        <p:spPr>
          <a:xfrm>
            <a:off x="3756423" y="3109180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62D02FB-C308-4ACF-94D8-8906D7A3A925}"/>
              </a:ext>
            </a:extLst>
          </p:cNvPr>
          <p:cNvSpPr/>
          <p:nvPr/>
        </p:nvSpPr>
        <p:spPr>
          <a:xfrm>
            <a:off x="5386388" y="3109180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580166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1856F54-C247-481E-B645-9912A2CB5CB1}"/>
              </a:ext>
            </a:extLst>
          </p:cNvPr>
          <p:cNvSpPr/>
          <p:nvPr/>
        </p:nvSpPr>
        <p:spPr>
          <a:xfrm>
            <a:off x="5386388" y="3831557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C5C719B-F6E5-4316-904E-AFF9BE7AFF86}"/>
              </a:ext>
            </a:extLst>
          </p:cNvPr>
          <p:cNvSpPr/>
          <p:nvPr/>
        </p:nvSpPr>
        <p:spPr>
          <a:xfrm>
            <a:off x="5386388" y="4553934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858982C-C418-4017-A439-9781F01ED7E3}"/>
              </a:ext>
            </a:extLst>
          </p:cNvPr>
          <p:cNvSpPr/>
          <p:nvPr/>
        </p:nvSpPr>
        <p:spPr>
          <a:xfrm>
            <a:off x="7016353" y="238680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B3D2411-3E3C-4333-B637-78F73AB788B8}"/>
              </a:ext>
            </a:extLst>
          </p:cNvPr>
          <p:cNvSpPr/>
          <p:nvPr/>
        </p:nvSpPr>
        <p:spPr>
          <a:xfrm>
            <a:off x="8646319" y="238680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6CA5371-C167-4D69-82A1-5F7BD8001E16}"/>
              </a:ext>
            </a:extLst>
          </p:cNvPr>
          <p:cNvSpPr/>
          <p:nvPr/>
        </p:nvSpPr>
        <p:spPr>
          <a:xfrm>
            <a:off x="8646319" y="3831557"/>
            <a:ext cx="1419225" cy="4191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A5D12A48-D06E-451A-A587-30F165FF0D48}"/>
              </a:ext>
            </a:extLst>
          </p:cNvPr>
          <p:cNvCxnSpPr>
            <a:stCxn id="87" idx="2"/>
            <a:endCxn id="88" idx="0"/>
          </p:cNvCxnSpPr>
          <p:nvPr/>
        </p:nvCxnSpPr>
        <p:spPr>
          <a:xfrm>
            <a:off x="2836070" y="1999267"/>
            <a:ext cx="0" cy="38753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1A130D89-F681-4A3B-9049-9C37FC9CC37B}"/>
              </a:ext>
            </a:extLst>
          </p:cNvPr>
          <p:cNvCxnSpPr>
            <a:stCxn id="88" idx="2"/>
            <a:endCxn id="89" idx="0"/>
          </p:cNvCxnSpPr>
          <p:nvPr/>
        </p:nvCxnSpPr>
        <p:spPr>
          <a:xfrm>
            <a:off x="2836070" y="2805904"/>
            <a:ext cx="0" cy="1647825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032CE92-3197-44A3-A31A-981D7C2CE8D8}"/>
              </a:ext>
            </a:extLst>
          </p:cNvPr>
          <p:cNvCxnSpPr>
            <a:stCxn id="90" idx="3"/>
            <a:endCxn id="91" idx="1"/>
          </p:cNvCxnSpPr>
          <p:nvPr/>
        </p:nvCxnSpPr>
        <p:spPr>
          <a:xfrm>
            <a:off x="5175647" y="3318730"/>
            <a:ext cx="210740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1341F916-074E-4920-B358-4BFFAA4876BA}"/>
              </a:ext>
            </a:extLst>
          </p:cNvPr>
          <p:cNvCxnSpPr>
            <a:endCxn id="90" idx="1"/>
          </p:cNvCxnSpPr>
          <p:nvPr/>
        </p:nvCxnSpPr>
        <p:spPr>
          <a:xfrm>
            <a:off x="2836070" y="3318730"/>
            <a:ext cx="920352" cy="0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0" y="1999267"/>
            <a:ext cx="0" cy="38753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stCxn id="92" idx="2"/>
            <a:endCxn id="91" idx="0"/>
          </p:cNvCxnSpPr>
          <p:nvPr/>
        </p:nvCxnSpPr>
        <p:spPr>
          <a:xfrm>
            <a:off x="6096000" y="2805904"/>
            <a:ext cx="0" cy="30327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2052">
            <a:extLst>
              <a:ext uri="{FF2B5EF4-FFF2-40B4-BE49-F238E27FC236}">
                <a16:creationId xmlns:a16="http://schemas.microsoft.com/office/drawing/2014/main" id="{C39FEEB9-AA9B-48B0-87E3-42864E2C88C7}"/>
              </a:ext>
            </a:extLst>
          </p:cNvPr>
          <p:cNvCxnSpPr>
            <a:stCxn id="90" idx="2"/>
            <a:endCxn id="94" idx="1"/>
          </p:cNvCxnSpPr>
          <p:nvPr/>
        </p:nvCxnSpPr>
        <p:spPr>
          <a:xfrm rot="16200000" flipH="1">
            <a:off x="4669799" y="3324517"/>
            <a:ext cx="512827" cy="920352"/>
          </a:xfrm>
          <a:prstGeom prst="bentConnector2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D1EB989A-9896-4B3F-B92F-B042472E839D}"/>
              </a:ext>
            </a:extLst>
          </p:cNvPr>
          <p:cNvCxnSpPr>
            <a:stCxn id="92" idx="3"/>
            <a:endCxn id="96" idx="1"/>
          </p:cNvCxnSpPr>
          <p:nvPr/>
        </p:nvCxnSpPr>
        <p:spPr>
          <a:xfrm>
            <a:off x="6805612" y="2596353"/>
            <a:ext cx="210740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30D6D37-FAFB-4A48-B319-2DCDD9B56DE7}"/>
              </a:ext>
            </a:extLst>
          </p:cNvPr>
          <p:cNvCxnSpPr>
            <a:stCxn id="96" idx="3"/>
            <a:endCxn id="97" idx="1"/>
          </p:cNvCxnSpPr>
          <p:nvPr/>
        </p:nvCxnSpPr>
        <p:spPr>
          <a:xfrm>
            <a:off x="8435578" y="2596353"/>
            <a:ext cx="210741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0BF3C12-5670-4E5D-93BA-D74D49061DE9}"/>
              </a:ext>
            </a:extLst>
          </p:cNvPr>
          <p:cNvCxnSpPr>
            <a:stCxn id="97" idx="2"/>
            <a:endCxn id="98" idx="0"/>
          </p:cNvCxnSpPr>
          <p:nvPr/>
        </p:nvCxnSpPr>
        <p:spPr>
          <a:xfrm>
            <a:off x="9355931" y="2805903"/>
            <a:ext cx="0" cy="1025654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05A11C5-8898-4D6C-AFD1-BFA7B629DF54}"/>
              </a:ext>
            </a:extLst>
          </p:cNvPr>
          <p:cNvCxnSpPr>
            <a:stCxn id="94" idx="3"/>
            <a:endCxn id="98" idx="1"/>
          </p:cNvCxnSpPr>
          <p:nvPr/>
        </p:nvCxnSpPr>
        <p:spPr>
          <a:xfrm>
            <a:off x="6805612" y="4041107"/>
            <a:ext cx="1840706" cy="0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24BDC773-99C9-4AA8-8028-E8372CB25DE1}"/>
              </a:ext>
            </a:extLst>
          </p:cNvPr>
          <p:cNvCxnSpPr>
            <a:stCxn id="94" idx="2"/>
            <a:endCxn id="95" idx="0"/>
          </p:cNvCxnSpPr>
          <p:nvPr/>
        </p:nvCxnSpPr>
        <p:spPr>
          <a:xfrm>
            <a:off x="6096000" y="4250658"/>
            <a:ext cx="0" cy="30327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388A474-93BB-447A-97FB-53185800DC17}"/>
              </a:ext>
            </a:extLst>
          </p:cNvPr>
          <p:cNvSpPr/>
          <p:nvPr/>
        </p:nvSpPr>
        <p:spPr>
          <a:xfrm>
            <a:off x="5386388" y="5294110"/>
            <a:ext cx="4679152" cy="10304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prstClr val="white"/>
              </a:solidFill>
            </a:endParaRP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374D43FD-18AD-46B6-9289-88193B4F4E8A}"/>
              </a:ext>
            </a:extLst>
          </p:cNvPr>
          <p:cNvCxnSpPr>
            <a:stCxn id="95" idx="2"/>
          </p:cNvCxnSpPr>
          <p:nvPr/>
        </p:nvCxnSpPr>
        <p:spPr>
          <a:xfrm>
            <a:off x="6096000" y="4973034"/>
            <a:ext cx="0" cy="321076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B141192B-B52E-4C38-8B5F-C21751B795F6}"/>
              </a:ext>
            </a:extLst>
          </p:cNvPr>
          <p:cNvSpPr txBox="1"/>
          <p:nvPr/>
        </p:nvSpPr>
        <p:spPr>
          <a:xfrm>
            <a:off x="6413974" y="5378468"/>
            <a:ext cx="3499474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prstClr val="white"/>
                </a:solidFill>
              </a:rPr>
              <a:t>Lorem ipsum dolor sit </a:t>
            </a:r>
            <a:r>
              <a:rPr lang="en-US" sz="1400" dirty="0" err="1">
                <a:solidFill>
                  <a:prstClr val="white"/>
                </a:solidFill>
              </a:rPr>
              <a:t>amet</a:t>
            </a:r>
            <a:r>
              <a:rPr lang="en-US" sz="1400" dirty="0">
                <a:solidFill>
                  <a:prstClr val="white"/>
                </a:solidFill>
              </a:rPr>
              <a:t>, </a:t>
            </a:r>
            <a:r>
              <a:rPr lang="en-US" sz="1400" dirty="0" err="1">
                <a:solidFill>
                  <a:prstClr val="white"/>
                </a:solidFill>
              </a:rPr>
              <a:t>consectetur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adipiscing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lit</a:t>
            </a:r>
            <a:r>
              <a:rPr lang="en-US" sz="1400" dirty="0">
                <a:solidFill>
                  <a:prstClr val="white"/>
                </a:solidFill>
              </a:rPr>
              <a:t>. Morbi </a:t>
            </a:r>
            <a:r>
              <a:rPr lang="en-US" sz="1400" dirty="0" err="1">
                <a:solidFill>
                  <a:prstClr val="white"/>
                </a:solidFill>
              </a:rPr>
              <a:t>condimentum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uismod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lit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u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viverra</a:t>
            </a:r>
            <a:r>
              <a:rPr lang="en-US" sz="1400" dirty="0">
                <a:solidFill>
                  <a:prstClr val="white"/>
                </a:solidFill>
              </a:rPr>
              <a:t>. </a:t>
            </a:r>
            <a:r>
              <a:rPr lang="en-US" sz="1400" dirty="0" err="1">
                <a:solidFill>
                  <a:prstClr val="white"/>
                </a:solidFill>
              </a:rPr>
              <a:t>Etiam</a:t>
            </a:r>
            <a:r>
              <a:rPr lang="en-US" sz="1400" dirty="0">
                <a:solidFill>
                  <a:prstClr val="white"/>
                </a:solidFill>
              </a:rPr>
              <a:t> cursus </a:t>
            </a:r>
            <a:r>
              <a:rPr lang="en-US" sz="1400" dirty="0" err="1">
                <a:solidFill>
                  <a:prstClr val="white"/>
                </a:solidFill>
              </a:rPr>
              <a:t>nec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lacus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nec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rhoncus</a:t>
            </a:r>
            <a:r>
              <a:rPr lang="en-US" sz="1400" dirty="0">
                <a:solidFill>
                  <a:prstClr val="white"/>
                </a:solidFill>
              </a:rPr>
              <a:t>. </a:t>
            </a:r>
            <a:r>
              <a:rPr lang="en-US" sz="1400" dirty="0" err="1">
                <a:solidFill>
                  <a:prstClr val="white"/>
                </a:solidFill>
              </a:rPr>
              <a:t>Pellentesque</a:t>
            </a:r>
            <a:r>
              <a:rPr lang="en-US" sz="1400" dirty="0">
                <a:solidFill>
                  <a:prstClr val="white"/>
                </a:solidFill>
              </a:rPr>
              <a:t> ac </a:t>
            </a:r>
            <a:r>
              <a:rPr lang="en-US" sz="1400" dirty="0" err="1">
                <a:solidFill>
                  <a:prstClr val="white"/>
                </a:solidFill>
              </a:rPr>
              <a:t>hendrerit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nim</a:t>
            </a:r>
            <a:r>
              <a:rPr lang="en-US" sz="1400" dirty="0">
                <a:solidFill>
                  <a:prstClr val="white"/>
                </a:solidFill>
              </a:rPr>
              <a:t>. </a:t>
            </a:r>
          </a:p>
        </p:txBody>
      </p:sp>
      <p:sp>
        <p:nvSpPr>
          <p:cNvPr id="117" name="Freeform 3518">
            <a:extLst>
              <a:ext uri="{FF2B5EF4-FFF2-40B4-BE49-F238E27FC236}">
                <a16:creationId xmlns:a16="http://schemas.microsoft.com/office/drawing/2014/main" id="{21764520-7BD4-46C9-89F1-B8816020D453}"/>
              </a:ext>
            </a:extLst>
          </p:cNvPr>
          <p:cNvSpPr>
            <a:spLocks noEditPoints="1"/>
          </p:cNvSpPr>
          <p:nvPr/>
        </p:nvSpPr>
        <p:spPr bwMode="auto">
          <a:xfrm>
            <a:off x="5716514" y="5671243"/>
            <a:ext cx="287337" cy="276225"/>
          </a:xfrm>
          <a:custGeom>
            <a:avLst/>
            <a:gdLst>
              <a:gd name="T0" fmla="*/ 482 w 720"/>
              <a:gd name="T1" fmla="*/ 464 h 696"/>
              <a:gd name="T2" fmla="*/ 476 w 720"/>
              <a:gd name="T3" fmla="*/ 523 h 696"/>
              <a:gd name="T4" fmla="*/ 451 w 720"/>
              <a:gd name="T5" fmla="*/ 549 h 696"/>
              <a:gd name="T6" fmla="*/ 295 w 720"/>
              <a:gd name="T7" fmla="*/ 553 h 696"/>
              <a:gd name="T8" fmla="*/ 275 w 720"/>
              <a:gd name="T9" fmla="*/ 542 h 696"/>
              <a:gd name="T10" fmla="*/ 264 w 720"/>
              <a:gd name="T11" fmla="*/ 512 h 696"/>
              <a:gd name="T12" fmla="*/ 261 w 720"/>
              <a:gd name="T13" fmla="*/ 460 h 696"/>
              <a:gd name="T14" fmla="*/ 127 w 720"/>
              <a:gd name="T15" fmla="*/ 312 h 696"/>
              <a:gd name="T16" fmla="*/ 148 w 720"/>
              <a:gd name="T17" fmla="*/ 416 h 696"/>
              <a:gd name="T18" fmla="*/ 569 w 720"/>
              <a:gd name="T19" fmla="*/ 419 h 696"/>
              <a:gd name="T20" fmla="*/ 577 w 720"/>
              <a:gd name="T21" fmla="*/ 312 h 696"/>
              <a:gd name="T22" fmla="*/ 254 w 720"/>
              <a:gd name="T23" fmla="*/ 339 h 696"/>
              <a:gd name="T24" fmla="*/ 478 w 720"/>
              <a:gd name="T25" fmla="*/ 347 h 696"/>
              <a:gd name="T26" fmla="*/ 471 w 720"/>
              <a:gd name="T27" fmla="*/ 363 h 696"/>
              <a:gd name="T28" fmla="*/ 245 w 720"/>
              <a:gd name="T29" fmla="*/ 360 h 696"/>
              <a:gd name="T30" fmla="*/ 245 w 720"/>
              <a:gd name="T31" fmla="*/ 343 h 696"/>
              <a:gd name="T32" fmla="*/ 466 w 720"/>
              <a:gd name="T33" fmla="*/ 265 h 696"/>
              <a:gd name="T34" fmla="*/ 479 w 720"/>
              <a:gd name="T35" fmla="*/ 276 h 696"/>
              <a:gd name="T36" fmla="*/ 466 w 720"/>
              <a:gd name="T37" fmla="*/ 288 h 696"/>
              <a:gd name="T38" fmla="*/ 243 w 720"/>
              <a:gd name="T39" fmla="*/ 282 h 696"/>
              <a:gd name="T40" fmla="*/ 249 w 720"/>
              <a:gd name="T41" fmla="*/ 265 h 696"/>
              <a:gd name="T42" fmla="*/ 471 w 720"/>
              <a:gd name="T43" fmla="*/ 193 h 696"/>
              <a:gd name="T44" fmla="*/ 478 w 720"/>
              <a:gd name="T45" fmla="*/ 208 h 696"/>
              <a:gd name="T46" fmla="*/ 254 w 720"/>
              <a:gd name="T47" fmla="*/ 216 h 696"/>
              <a:gd name="T48" fmla="*/ 243 w 720"/>
              <a:gd name="T49" fmla="*/ 205 h 696"/>
              <a:gd name="T50" fmla="*/ 254 w 720"/>
              <a:gd name="T51" fmla="*/ 192 h 696"/>
              <a:gd name="T52" fmla="*/ 293 w 720"/>
              <a:gd name="T53" fmla="*/ 76 h 696"/>
              <a:gd name="T54" fmla="*/ 293 w 720"/>
              <a:gd name="T55" fmla="*/ 93 h 696"/>
              <a:gd name="T56" fmla="*/ 249 w 720"/>
              <a:gd name="T57" fmla="*/ 95 h 696"/>
              <a:gd name="T58" fmla="*/ 243 w 720"/>
              <a:gd name="T59" fmla="*/ 80 h 696"/>
              <a:gd name="T60" fmla="*/ 315 w 720"/>
              <a:gd name="T61" fmla="*/ 120 h 696"/>
              <a:gd name="T62" fmla="*/ 478 w 720"/>
              <a:gd name="T63" fmla="*/ 128 h 696"/>
              <a:gd name="T64" fmla="*/ 471 w 720"/>
              <a:gd name="T65" fmla="*/ 143 h 696"/>
              <a:gd name="T66" fmla="*/ 307 w 720"/>
              <a:gd name="T67" fmla="*/ 140 h 696"/>
              <a:gd name="T68" fmla="*/ 307 w 720"/>
              <a:gd name="T69" fmla="*/ 124 h 696"/>
              <a:gd name="T70" fmla="*/ 720 w 720"/>
              <a:gd name="T71" fmla="*/ 467 h 696"/>
              <a:gd name="T72" fmla="*/ 719 w 720"/>
              <a:gd name="T73" fmla="*/ 463 h 696"/>
              <a:gd name="T74" fmla="*/ 606 w 720"/>
              <a:gd name="T75" fmla="*/ 289 h 696"/>
              <a:gd name="T76" fmla="*/ 577 w 720"/>
              <a:gd name="T77" fmla="*/ 12 h 696"/>
              <a:gd name="T78" fmla="*/ 565 w 720"/>
              <a:gd name="T79" fmla="*/ 0 h 696"/>
              <a:gd name="T80" fmla="*/ 145 w 720"/>
              <a:gd name="T81" fmla="*/ 7 h 696"/>
              <a:gd name="T82" fmla="*/ 117 w 720"/>
              <a:gd name="T83" fmla="*/ 289 h 696"/>
              <a:gd name="T84" fmla="*/ 1 w 720"/>
              <a:gd name="T85" fmla="*/ 463 h 696"/>
              <a:gd name="T86" fmla="*/ 0 w 720"/>
              <a:gd name="T87" fmla="*/ 465 h 696"/>
              <a:gd name="T88" fmla="*/ 0 w 720"/>
              <a:gd name="T89" fmla="*/ 469 h 696"/>
              <a:gd name="T90" fmla="*/ 8 w 720"/>
              <a:gd name="T91" fmla="*/ 696 h 696"/>
              <a:gd name="T92" fmla="*/ 718 w 720"/>
              <a:gd name="T93" fmla="*/ 694 h 696"/>
              <a:gd name="T94" fmla="*/ 720 w 720"/>
              <a:gd name="T95" fmla="*/ 468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0" h="696">
                <a:moveTo>
                  <a:pt x="493" y="456"/>
                </a:moveTo>
                <a:lnTo>
                  <a:pt x="488" y="458"/>
                </a:lnTo>
                <a:lnTo>
                  <a:pt x="484" y="460"/>
                </a:lnTo>
                <a:lnTo>
                  <a:pt x="482" y="464"/>
                </a:lnTo>
                <a:lnTo>
                  <a:pt x="480" y="469"/>
                </a:lnTo>
                <a:lnTo>
                  <a:pt x="480" y="505"/>
                </a:lnTo>
                <a:lnTo>
                  <a:pt x="479" y="514"/>
                </a:lnTo>
                <a:lnTo>
                  <a:pt x="476" y="523"/>
                </a:lnTo>
                <a:lnTo>
                  <a:pt x="473" y="532"/>
                </a:lnTo>
                <a:lnTo>
                  <a:pt x="466" y="538"/>
                </a:lnTo>
                <a:lnTo>
                  <a:pt x="460" y="545"/>
                </a:lnTo>
                <a:lnTo>
                  <a:pt x="451" y="549"/>
                </a:lnTo>
                <a:lnTo>
                  <a:pt x="442" y="551"/>
                </a:lnTo>
                <a:lnTo>
                  <a:pt x="433" y="553"/>
                </a:lnTo>
                <a:lnTo>
                  <a:pt x="300" y="553"/>
                </a:lnTo>
                <a:lnTo>
                  <a:pt x="295" y="553"/>
                </a:lnTo>
                <a:lnTo>
                  <a:pt x="290" y="551"/>
                </a:lnTo>
                <a:lnTo>
                  <a:pt x="285" y="550"/>
                </a:lnTo>
                <a:lnTo>
                  <a:pt x="281" y="547"/>
                </a:lnTo>
                <a:lnTo>
                  <a:pt x="275" y="542"/>
                </a:lnTo>
                <a:lnTo>
                  <a:pt x="271" y="536"/>
                </a:lnTo>
                <a:lnTo>
                  <a:pt x="267" y="528"/>
                </a:lnTo>
                <a:lnTo>
                  <a:pt x="266" y="519"/>
                </a:lnTo>
                <a:lnTo>
                  <a:pt x="264" y="512"/>
                </a:lnTo>
                <a:lnTo>
                  <a:pt x="264" y="505"/>
                </a:lnTo>
                <a:lnTo>
                  <a:pt x="264" y="469"/>
                </a:lnTo>
                <a:lnTo>
                  <a:pt x="263" y="464"/>
                </a:lnTo>
                <a:lnTo>
                  <a:pt x="261" y="460"/>
                </a:lnTo>
                <a:lnTo>
                  <a:pt x="257" y="458"/>
                </a:lnTo>
                <a:lnTo>
                  <a:pt x="252" y="456"/>
                </a:lnTo>
                <a:lnTo>
                  <a:pt x="33" y="456"/>
                </a:lnTo>
                <a:lnTo>
                  <a:pt x="127" y="312"/>
                </a:lnTo>
                <a:lnTo>
                  <a:pt x="144" y="312"/>
                </a:lnTo>
                <a:lnTo>
                  <a:pt x="144" y="409"/>
                </a:lnTo>
                <a:lnTo>
                  <a:pt x="145" y="413"/>
                </a:lnTo>
                <a:lnTo>
                  <a:pt x="148" y="416"/>
                </a:lnTo>
                <a:lnTo>
                  <a:pt x="151" y="419"/>
                </a:lnTo>
                <a:lnTo>
                  <a:pt x="157" y="420"/>
                </a:lnTo>
                <a:lnTo>
                  <a:pt x="565" y="420"/>
                </a:lnTo>
                <a:lnTo>
                  <a:pt x="569" y="419"/>
                </a:lnTo>
                <a:lnTo>
                  <a:pt x="573" y="416"/>
                </a:lnTo>
                <a:lnTo>
                  <a:pt x="575" y="413"/>
                </a:lnTo>
                <a:lnTo>
                  <a:pt x="577" y="409"/>
                </a:lnTo>
                <a:lnTo>
                  <a:pt x="577" y="312"/>
                </a:lnTo>
                <a:lnTo>
                  <a:pt x="595" y="312"/>
                </a:lnTo>
                <a:lnTo>
                  <a:pt x="687" y="456"/>
                </a:lnTo>
                <a:lnTo>
                  <a:pt x="493" y="456"/>
                </a:lnTo>
                <a:close/>
                <a:moveTo>
                  <a:pt x="254" y="339"/>
                </a:moveTo>
                <a:lnTo>
                  <a:pt x="466" y="339"/>
                </a:lnTo>
                <a:lnTo>
                  <a:pt x="471" y="341"/>
                </a:lnTo>
                <a:lnTo>
                  <a:pt x="475" y="343"/>
                </a:lnTo>
                <a:lnTo>
                  <a:pt x="478" y="347"/>
                </a:lnTo>
                <a:lnTo>
                  <a:pt x="479" y="351"/>
                </a:lnTo>
                <a:lnTo>
                  <a:pt x="478" y="356"/>
                </a:lnTo>
                <a:lnTo>
                  <a:pt x="475" y="360"/>
                </a:lnTo>
                <a:lnTo>
                  <a:pt x="471" y="363"/>
                </a:lnTo>
                <a:lnTo>
                  <a:pt x="466" y="364"/>
                </a:lnTo>
                <a:lnTo>
                  <a:pt x="254" y="364"/>
                </a:lnTo>
                <a:lnTo>
                  <a:pt x="249" y="363"/>
                </a:lnTo>
                <a:lnTo>
                  <a:pt x="245" y="360"/>
                </a:lnTo>
                <a:lnTo>
                  <a:pt x="243" y="356"/>
                </a:lnTo>
                <a:lnTo>
                  <a:pt x="243" y="351"/>
                </a:lnTo>
                <a:lnTo>
                  <a:pt x="243" y="347"/>
                </a:lnTo>
                <a:lnTo>
                  <a:pt x="245" y="343"/>
                </a:lnTo>
                <a:lnTo>
                  <a:pt x="249" y="341"/>
                </a:lnTo>
                <a:lnTo>
                  <a:pt x="254" y="339"/>
                </a:lnTo>
                <a:close/>
                <a:moveTo>
                  <a:pt x="254" y="265"/>
                </a:moveTo>
                <a:lnTo>
                  <a:pt x="466" y="265"/>
                </a:lnTo>
                <a:lnTo>
                  <a:pt x="471" y="265"/>
                </a:lnTo>
                <a:lnTo>
                  <a:pt x="475" y="268"/>
                </a:lnTo>
                <a:lnTo>
                  <a:pt x="478" y="271"/>
                </a:lnTo>
                <a:lnTo>
                  <a:pt x="479" y="276"/>
                </a:lnTo>
                <a:lnTo>
                  <a:pt x="478" y="282"/>
                </a:lnTo>
                <a:lnTo>
                  <a:pt x="475" y="285"/>
                </a:lnTo>
                <a:lnTo>
                  <a:pt x="471" y="288"/>
                </a:lnTo>
                <a:lnTo>
                  <a:pt x="466" y="288"/>
                </a:lnTo>
                <a:lnTo>
                  <a:pt x="254" y="288"/>
                </a:lnTo>
                <a:lnTo>
                  <a:pt x="249" y="288"/>
                </a:lnTo>
                <a:lnTo>
                  <a:pt x="245" y="284"/>
                </a:lnTo>
                <a:lnTo>
                  <a:pt x="243" y="282"/>
                </a:lnTo>
                <a:lnTo>
                  <a:pt x="243" y="276"/>
                </a:lnTo>
                <a:lnTo>
                  <a:pt x="243" y="271"/>
                </a:lnTo>
                <a:lnTo>
                  <a:pt x="245" y="268"/>
                </a:lnTo>
                <a:lnTo>
                  <a:pt x="249" y="265"/>
                </a:lnTo>
                <a:lnTo>
                  <a:pt x="254" y="265"/>
                </a:lnTo>
                <a:close/>
                <a:moveTo>
                  <a:pt x="254" y="192"/>
                </a:moveTo>
                <a:lnTo>
                  <a:pt x="466" y="192"/>
                </a:lnTo>
                <a:lnTo>
                  <a:pt x="471" y="193"/>
                </a:lnTo>
                <a:lnTo>
                  <a:pt x="475" y="196"/>
                </a:lnTo>
                <a:lnTo>
                  <a:pt x="478" y="199"/>
                </a:lnTo>
                <a:lnTo>
                  <a:pt x="479" y="205"/>
                </a:lnTo>
                <a:lnTo>
                  <a:pt x="478" y="208"/>
                </a:lnTo>
                <a:lnTo>
                  <a:pt x="475" y="212"/>
                </a:lnTo>
                <a:lnTo>
                  <a:pt x="471" y="215"/>
                </a:lnTo>
                <a:lnTo>
                  <a:pt x="466" y="216"/>
                </a:lnTo>
                <a:lnTo>
                  <a:pt x="254" y="216"/>
                </a:lnTo>
                <a:lnTo>
                  <a:pt x="249" y="215"/>
                </a:lnTo>
                <a:lnTo>
                  <a:pt x="245" y="212"/>
                </a:lnTo>
                <a:lnTo>
                  <a:pt x="243" y="208"/>
                </a:lnTo>
                <a:lnTo>
                  <a:pt x="243" y="205"/>
                </a:lnTo>
                <a:lnTo>
                  <a:pt x="243" y="199"/>
                </a:lnTo>
                <a:lnTo>
                  <a:pt x="245" y="196"/>
                </a:lnTo>
                <a:lnTo>
                  <a:pt x="249" y="193"/>
                </a:lnTo>
                <a:lnTo>
                  <a:pt x="254" y="192"/>
                </a:lnTo>
                <a:close/>
                <a:moveTo>
                  <a:pt x="254" y="72"/>
                </a:moveTo>
                <a:lnTo>
                  <a:pt x="285" y="72"/>
                </a:lnTo>
                <a:lnTo>
                  <a:pt x="289" y="74"/>
                </a:lnTo>
                <a:lnTo>
                  <a:pt x="293" y="76"/>
                </a:lnTo>
                <a:lnTo>
                  <a:pt x="295" y="80"/>
                </a:lnTo>
                <a:lnTo>
                  <a:pt x="297" y="84"/>
                </a:lnTo>
                <a:lnTo>
                  <a:pt x="295" y="89"/>
                </a:lnTo>
                <a:lnTo>
                  <a:pt x="293" y="93"/>
                </a:lnTo>
                <a:lnTo>
                  <a:pt x="289" y="95"/>
                </a:lnTo>
                <a:lnTo>
                  <a:pt x="285" y="97"/>
                </a:lnTo>
                <a:lnTo>
                  <a:pt x="254" y="95"/>
                </a:lnTo>
                <a:lnTo>
                  <a:pt x="249" y="95"/>
                </a:lnTo>
                <a:lnTo>
                  <a:pt x="245" y="93"/>
                </a:lnTo>
                <a:lnTo>
                  <a:pt x="243" y="89"/>
                </a:lnTo>
                <a:lnTo>
                  <a:pt x="243" y="84"/>
                </a:lnTo>
                <a:lnTo>
                  <a:pt x="243" y="80"/>
                </a:lnTo>
                <a:lnTo>
                  <a:pt x="245" y="76"/>
                </a:lnTo>
                <a:lnTo>
                  <a:pt x="249" y="74"/>
                </a:lnTo>
                <a:lnTo>
                  <a:pt x="254" y="72"/>
                </a:lnTo>
                <a:close/>
                <a:moveTo>
                  <a:pt x="315" y="120"/>
                </a:moveTo>
                <a:lnTo>
                  <a:pt x="466" y="120"/>
                </a:lnTo>
                <a:lnTo>
                  <a:pt x="471" y="121"/>
                </a:lnTo>
                <a:lnTo>
                  <a:pt x="475" y="124"/>
                </a:lnTo>
                <a:lnTo>
                  <a:pt x="478" y="128"/>
                </a:lnTo>
                <a:lnTo>
                  <a:pt x="479" y="133"/>
                </a:lnTo>
                <a:lnTo>
                  <a:pt x="478" y="137"/>
                </a:lnTo>
                <a:lnTo>
                  <a:pt x="475" y="140"/>
                </a:lnTo>
                <a:lnTo>
                  <a:pt x="471" y="143"/>
                </a:lnTo>
                <a:lnTo>
                  <a:pt x="466" y="144"/>
                </a:lnTo>
                <a:lnTo>
                  <a:pt x="315" y="144"/>
                </a:lnTo>
                <a:lnTo>
                  <a:pt x="311" y="143"/>
                </a:lnTo>
                <a:lnTo>
                  <a:pt x="307" y="140"/>
                </a:lnTo>
                <a:lnTo>
                  <a:pt x="304" y="137"/>
                </a:lnTo>
                <a:lnTo>
                  <a:pt x="303" y="133"/>
                </a:lnTo>
                <a:lnTo>
                  <a:pt x="304" y="128"/>
                </a:lnTo>
                <a:lnTo>
                  <a:pt x="307" y="124"/>
                </a:lnTo>
                <a:lnTo>
                  <a:pt x="311" y="121"/>
                </a:lnTo>
                <a:lnTo>
                  <a:pt x="315" y="120"/>
                </a:lnTo>
                <a:close/>
                <a:moveTo>
                  <a:pt x="720" y="468"/>
                </a:moveTo>
                <a:lnTo>
                  <a:pt x="720" y="467"/>
                </a:lnTo>
                <a:lnTo>
                  <a:pt x="720" y="465"/>
                </a:lnTo>
                <a:lnTo>
                  <a:pt x="720" y="464"/>
                </a:lnTo>
                <a:lnTo>
                  <a:pt x="719" y="463"/>
                </a:lnTo>
                <a:lnTo>
                  <a:pt x="719" y="463"/>
                </a:lnTo>
                <a:lnTo>
                  <a:pt x="719" y="463"/>
                </a:lnTo>
                <a:lnTo>
                  <a:pt x="611" y="294"/>
                </a:lnTo>
                <a:lnTo>
                  <a:pt x="609" y="292"/>
                </a:lnTo>
                <a:lnTo>
                  <a:pt x="606" y="289"/>
                </a:lnTo>
                <a:lnTo>
                  <a:pt x="604" y="289"/>
                </a:lnTo>
                <a:lnTo>
                  <a:pt x="601" y="288"/>
                </a:lnTo>
                <a:lnTo>
                  <a:pt x="577" y="288"/>
                </a:lnTo>
                <a:lnTo>
                  <a:pt x="577" y="12"/>
                </a:lnTo>
                <a:lnTo>
                  <a:pt x="575" y="7"/>
                </a:lnTo>
                <a:lnTo>
                  <a:pt x="573" y="3"/>
                </a:lnTo>
                <a:lnTo>
                  <a:pt x="569" y="0"/>
                </a:lnTo>
                <a:lnTo>
                  <a:pt x="565" y="0"/>
                </a:lnTo>
                <a:lnTo>
                  <a:pt x="157" y="0"/>
                </a:lnTo>
                <a:lnTo>
                  <a:pt x="151" y="0"/>
                </a:lnTo>
                <a:lnTo>
                  <a:pt x="148" y="3"/>
                </a:lnTo>
                <a:lnTo>
                  <a:pt x="145" y="7"/>
                </a:lnTo>
                <a:lnTo>
                  <a:pt x="144" y="12"/>
                </a:lnTo>
                <a:lnTo>
                  <a:pt x="144" y="288"/>
                </a:lnTo>
                <a:lnTo>
                  <a:pt x="119" y="288"/>
                </a:lnTo>
                <a:lnTo>
                  <a:pt x="117" y="289"/>
                </a:lnTo>
                <a:lnTo>
                  <a:pt x="114" y="289"/>
                </a:lnTo>
                <a:lnTo>
                  <a:pt x="112" y="292"/>
                </a:lnTo>
                <a:lnTo>
                  <a:pt x="110" y="294"/>
                </a:lnTo>
                <a:lnTo>
                  <a:pt x="1" y="463"/>
                </a:lnTo>
                <a:lnTo>
                  <a:pt x="1" y="463"/>
                </a:lnTo>
                <a:lnTo>
                  <a:pt x="1" y="463"/>
                </a:lnTo>
                <a:lnTo>
                  <a:pt x="1" y="464"/>
                </a:lnTo>
                <a:lnTo>
                  <a:pt x="0" y="465"/>
                </a:lnTo>
                <a:lnTo>
                  <a:pt x="0" y="467"/>
                </a:lnTo>
                <a:lnTo>
                  <a:pt x="0" y="468"/>
                </a:lnTo>
                <a:lnTo>
                  <a:pt x="0" y="468"/>
                </a:lnTo>
                <a:lnTo>
                  <a:pt x="0" y="469"/>
                </a:lnTo>
                <a:lnTo>
                  <a:pt x="0" y="685"/>
                </a:lnTo>
                <a:lnTo>
                  <a:pt x="1" y="690"/>
                </a:lnTo>
                <a:lnTo>
                  <a:pt x="4" y="694"/>
                </a:lnTo>
                <a:lnTo>
                  <a:pt x="8" y="696"/>
                </a:lnTo>
                <a:lnTo>
                  <a:pt x="11" y="696"/>
                </a:lnTo>
                <a:lnTo>
                  <a:pt x="709" y="696"/>
                </a:lnTo>
                <a:lnTo>
                  <a:pt x="714" y="696"/>
                </a:lnTo>
                <a:lnTo>
                  <a:pt x="718" y="694"/>
                </a:lnTo>
                <a:lnTo>
                  <a:pt x="720" y="690"/>
                </a:lnTo>
                <a:lnTo>
                  <a:pt x="720" y="685"/>
                </a:lnTo>
                <a:lnTo>
                  <a:pt x="720" y="469"/>
                </a:lnTo>
                <a:lnTo>
                  <a:pt x="720" y="468"/>
                </a:lnTo>
                <a:lnTo>
                  <a:pt x="720" y="4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62C27C-2780-421B-A554-79F4655F0D26}"/>
              </a:ext>
            </a:extLst>
          </p:cNvPr>
          <p:cNvSpPr/>
          <p:nvPr/>
        </p:nvSpPr>
        <p:spPr>
          <a:xfrm>
            <a:off x="5520067" y="5469241"/>
            <a:ext cx="680229" cy="68022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D27FAFDD-4949-41BF-8D68-1EDF4AB3819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INTERNAL PROCESS PERSPECTIVE</a:t>
            </a:r>
          </a:p>
        </p:txBody>
      </p:sp>
    </p:spTree>
    <p:extLst>
      <p:ext uri="{BB962C8B-B14F-4D97-AF65-F5344CB8AC3E}">
        <p14:creationId xmlns:p14="http://schemas.microsoft.com/office/powerpoint/2010/main" val="22420671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A5E46F62-3B87-4BE3-BA72-D0DA40B802C1}"/>
              </a:ext>
            </a:extLst>
          </p:cNvPr>
          <p:cNvGrpSpPr/>
          <p:nvPr/>
        </p:nvGrpSpPr>
        <p:grpSpPr>
          <a:xfrm>
            <a:off x="609599" y="1336094"/>
            <a:ext cx="5762171" cy="4643012"/>
            <a:chOff x="2332041" y="1664133"/>
            <a:chExt cx="4233864" cy="3411539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15D0301A-F875-4AC8-A99B-85C526E30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804" y="4581959"/>
              <a:ext cx="1438276" cy="455613"/>
            </a:xfrm>
            <a:custGeom>
              <a:avLst/>
              <a:gdLst>
                <a:gd name="T0" fmla="*/ 3037 w 3628"/>
                <a:gd name="T1" fmla="*/ 0 h 1149"/>
                <a:gd name="T2" fmla="*/ 1837 w 3628"/>
                <a:gd name="T3" fmla="*/ 0 h 1149"/>
                <a:gd name="T4" fmla="*/ 1792 w 3628"/>
                <a:gd name="T5" fmla="*/ 0 h 1149"/>
                <a:gd name="T6" fmla="*/ 591 w 3628"/>
                <a:gd name="T7" fmla="*/ 0 h 1149"/>
                <a:gd name="T8" fmla="*/ 592 w 3628"/>
                <a:gd name="T9" fmla="*/ 108 h 1149"/>
                <a:gd name="T10" fmla="*/ 594 w 3628"/>
                <a:gd name="T11" fmla="*/ 214 h 1149"/>
                <a:gd name="T12" fmla="*/ 598 w 3628"/>
                <a:gd name="T13" fmla="*/ 317 h 1149"/>
                <a:gd name="T14" fmla="*/ 600 w 3628"/>
                <a:gd name="T15" fmla="*/ 419 h 1149"/>
                <a:gd name="T16" fmla="*/ 600 w 3628"/>
                <a:gd name="T17" fmla="*/ 468 h 1149"/>
                <a:gd name="T18" fmla="*/ 599 w 3628"/>
                <a:gd name="T19" fmla="*/ 516 h 1149"/>
                <a:gd name="T20" fmla="*/ 597 w 3628"/>
                <a:gd name="T21" fmla="*/ 564 h 1149"/>
                <a:gd name="T22" fmla="*/ 594 w 3628"/>
                <a:gd name="T23" fmla="*/ 610 h 1149"/>
                <a:gd name="T24" fmla="*/ 590 w 3628"/>
                <a:gd name="T25" fmla="*/ 654 h 1149"/>
                <a:gd name="T26" fmla="*/ 584 w 3628"/>
                <a:gd name="T27" fmla="*/ 698 h 1149"/>
                <a:gd name="T28" fmla="*/ 576 w 3628"/>
                <a:gd name="T29" fmla="*/ 740 h 1149"/>
                <a:gd name="T30" fmla="*/ 567 w 3628"/>
                <a:gd name="T31" fmla="*/ 780 h 1149"/>
                <a:gd name="T32" fmla="*/ 554 w 3628"/>
                <a:gd name="T33" fmla="*/ 820 h 1149"/>
                <a:gd name="T34" fmla="*/ 540 w 3628"/>
                <a:gd name="T35" fmla="*/ 857 h 1149"/>
                <a:gd name="T36" fmla="*/ 524 w 3628"/>
                <a:gd name="T37" fmla="*/ 892 h 1149"/>
                <a:gd name="T38" fmla="*/ 504 w 3628"/>
                <a:gd name="T39" fmla="*/ 925 h 1149"/>
                <a:gd name="T40" fmla="*/ 482 w 3628"/>
                <a:gd name="T41" fmla="*/ 958 h 1149"/>
                <a:gd name="T42" fmla="*/ 458 w 3628"/>
                <a:gd name="T43" fmla="*/ 986 h 1149"/>
                <a:gd name="T44" fmla="*/ 429 w 3628"/>
                <a:gd name="T45" fmla="*/ 1014 h 1149"/>
                <a:gd name="T46" fmla="*/ 398 w 3628"/>
                <a:gd name="T47" fmla="*/ 1039 h 1149"/>
                <a:gd name="T48" fmla="*/ 363 w 3628"/>
                <a:gd name="T49" fmla="*/ 1062 h 1149"/>
                <a:gd name="T50" fmla="*/ 323 w 3628"/>
                <a:gd name="T51" fmla="*/ 1081 h 1149"/>
                <a:gd name="T52" fmla="*/ 281 w 3628"/>
                <a:gd name="T53" fmla="*/ 1100 h 1149"/>
                <a:gd name="T54" fmla="*/ 233 w 3628"/>
                <a:gd name="T55" fmla="*/ 1115 h 1149"/>
                <a:gd name="T56" fmla="*/ 182 w 3628"/>
                <a:gd name="T57" fmla="*/ 1128 h 1149"/>
                <a:gd name="T58" fmla="*/ 127 w 3628"/>
                <a:gd name="T59" fmla="*/ 1137 h 1149"/>
                <a:gd name="T60" fmla="*/ 66 w 3628"/>
                <a:gd name="T61" fmla="*/ 1144 h 1149"/>
                <a:gd name="T62" fmla="*/ 0 w 3628"/>
                <a:gd name="T63" fmla="*/ 1149 h 1149"/>
                <a:gd name="T64" fmla="*/ 1792 w 3628"/>
                <a:gd name="T65" fmla="*/ 1149 h 1149"/>
                <a:gd name="T66" fmla="*/ 1837 w 3628"/>
                <a:gd name="T67" fmla="*/ 1149 h 1149"/>
                <a:gd name="T68" fmla="*/ 3628 w 3628"/>
                <a:gd name="T69" fmla="*/ 1149 h 1149"/>
                <a:gd name="T70" fmla="*/ 3563 w 3628"/>
                <a:gd name="T71" fmla="*/ 1144 h 1149"/>
                <a:gd name="T72" fmla="*/ 3503 w 3628"/>
                <a:gd name="T73" fmla="*/ 1137 h 1149"/>
                <a:gd name="T74" fmla="*/ 3446 w 3628"/>
                <a:gd name="T75" fmla="*/ 1128 h 1149"/>
                <a:gd name="T76" fmla="*/ 3395 w 3628"/>
                <a:gd name="T77" fmla="*/ 1115 h 1149"/>
                <a:gd name="T78" fmla="*/ 3349 w 3628"/>
                <a:gd name="T79" fmla="*/ 1100 h 1149"/>
                <a:gd name="T80" fmla="*/ 3306 w 3628"/>
                <a:gd name="T81" fmla="*/ 1081 h 1149"/>
                <a:gd name="T82" fmla="*/ 3266 w 3628"/>
                <a:gd name="T83" fmla="*/ 1062 h 1149"/>
                <a:gd name="T84" fmla="*/ 3231 w 3628"/>
                <a:gd name="T85" fmla="*/ 1039 h 1149"/>
                <a:gd name="T86" fmla="*/ 3199 w 3628"/>
                <a:gd name="T87" fmla="*/ 1014 h 1149"/>
                <a:gd name="T88" fmla="*/ 3172 w 3628"/>
                <a:gd name="T89" fmla="*/ 986 h 1149"/>
                <a:gd name="T90" fmla="*/ 3146 w 3628"/>
                <a:gd name="T91" fmla="*/ 958 h 1149"/>
                <a:gd name="T92" fmla="*/ 3124 w 3628"/>
                <a:gd name="T93" fmla="*/ 925 h 1149"/>
                <a:gd name="T94" fmla="*/ 3104 w 3628"/>
                <a:gd name="T95" fmla="*/ 892 h 1149"/>
                <a:gd name="T96" fmla="*/ 3088 w 3628"/>
                <a:gd name="T97" fmla="*/ 857 h 1149"/>
                <a:gd name="T98" fmla="*/ 3074 w 3628"/>
                <a:gd name="T99" fmla="*/ 820 h 1149"/>
                <a:gd name="T100" fmla="*/ 3063 w 3628"/>
                <a:gd name="T101" fmla="*/ 780 h 1149"/>
                <a:gd name="T102" fmla="*/ 3053 w 3628"/>
                <a:gd name="T103" fmla="*/ 740 h 1149"/>
                <a:gd name="T104" fmla="*/ 3045 w 3628"/>
                <a:gd name="T105" fmla="*/ 698 h 1149"/>
                <a:gd name="T106" fmla="*/ 3040 w 3628"/>
                <a:gd name="T107" fmla="*/ 654 h 1149"/>
                <a:gd name="T108" fmla="*/ 3035 w 3628"/>
                <a:gd name="T109" fmla="*/ 610 h 1149"/>
                <a:gd name="T110" fmla="*/ 3031 w 3628"/>
                <a:gd name="T111" fmla="*/ 564 h 1149"/>
                <a:gd name="T112" fmla="*/ 3030 w 3628"/>
                <a:gd name="T113" fmla="*/ 516 h 1149"/>
                <a:gd name="T114" fmla="*/ 3029 w 3628"/>
                <a:gd name="T115" fmla="*/ 468 h 1149"/>
                <a:gd name="T116" fmla="*/ 3029 w 3628"/>
                <a:gd name="T117" fmla="*/ 419 h 1149"/>
                <a:gd name="T118" fmla="*/ 3030 w 3628"/>
                <a:gd name="T119" fmla="*/ 317 h 1149"/>
                <a:gd name="T120" fmla="*/ 3034 w 3628"/>
                <a:gd name="T121" fmla="*/ 214 h 1149"/>
                <a:gd name="T122" fmla="*/ 3036 w 3628"/>
                <a:gd name="T123" fmla="*/ 108 h 1149"/>
                <a:gd name="T124" fmla="*/ 3037 w 3628"/>
                <a:gd name="T1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8" h="1149">
                  <a:moveTo>
                    <a:pt x="3037" y="0"/>
                  </a:moveTo>
                  <a:lnTo>
                    <a:pt x="1837" y="0"/>
                  </a:lnTo>
                  <a:lnTo>
                    <a:pt x="1792" y="0"/>
                  </a:lnTo>
                  <a:lnTo>
                    <a:pt x="591" y="0"/>
                  </a:lnTo>
                  <a:lnTo>
                    <a:pt x="592" y="108"/>
                  </a:lnTo>
                  <a:lnTo>
                    <a:pt x="594" y="214"/>
                  </a:lnTo>
                  <a:lnTo>
                    <a:pt x="598" y="317"/>
                  </a:lnTo>
                  <a:lnTo>
                    <a:pt x="600" y="419"/>
                  </a:lnTo>
                  <a:lnTo>
                    <a:pt x="600" y="468"/>
                  </a:lnTo>
                  <a:lnTo>
                    <a:pt x="599" y="516"/>
                  </a:lnTo>
                  <a:lnTo>
                    <a:pt x="597" y="564"/>
                  </a:lnTo>
                  <a:lnTo>
                    <a:pt x="594" y="610"/>
                  </a:lnTo>
                  <a:lnTo>
                    <a:pt x="590" y="654"/>
                  </a:lnTo>
                  <a:lnTo>
                    <a:pt x="584" y="698"/>
                  </a:lnTo>
                  <a:lnTo>
                    <a:pt x="576" y="740"/>
                  </a:lnTo>
                  <a:lnTo>
                    <a:pt x="567" y="780"/>
                  </a:lnTo>
                  <a:lnTo>
                    <a:pt x="554" y="820"/>
                  </a:lnTo>
                  <a:lnTo>
                    <a:pt x="540" y="857"/>
                  </a:lnTo>
                  <a:lnTo>
                    <a:pt x="524" y="892"/>
                  </a:lnTo>
                  <a:lnTo>
                    <a:pt x="504" y="925"/>
                  </a:lnTo>
                  <a:lnTo>
                    <a:pt x="482" y="958"/>
                  </a:lnTo>
                  <a:lnTo>
                    <a:pt x="458" y="986"/>
                  </a:lnTo>
                  <a:lnTo>
                    <a:pt x="429" y="1014"/>
                  </a:lnTo>
                  <a:lnTo>
                    <a:pt x="398" y="1039"/>
                  </a:lnTo>
                  <a:lnTo>
                    <a:pt x="363" y="1062"/>
                  </a:lnTo>
                  <a:lnTo>
                    <a:pt x="323" y="1081"/>
                  </a:lnTo>
                  <a:lnTo>
                    <a:pt x="281" y="1100"/>
                  </a:lnTo>
                  <a:lnTo>
                    <a:pt x="233" y="1115"/>
                  </a:lnTo>
                  <a:lnTo>
                    <a:pt x="182" y="1128"/>
                  </a:lnTo>
                  <a:lnTo>
                    <a:pt x="127" y="1137"/>
                  </a:lnTo>
                  <a:lnTo>
                    <a:pt x="66" y="1144"/>
                  </a:lnTo>
                  <a:lnTo>
                    <a:pt x="0" y="1149"/>
                  </a:lnTo>
                  <a:lnTo>
                    <a:pt x="1792" y="1149"/>
                  </a:lnTo>
                  <a:lnTo>
                    <a:pt x="1837" y="1149"/>
                  </a:lnTo>
                  <a:lnTo>
                    <a:pt x="3628" y="1149"/>
                  </a:lnTo>
                  <a:lnTo>
                    <a:pt x="3563" y="1144"/>
                  </a:lnTo>
                  <a:lnTo>
                    <a:pt x="3503" y="1137"/>
                  </a:lnTo>
                  <a:lnTo>
                    <a:pt x="3446" y="1128"/>
                  </a:lnTo>
                  <a:lnTo>
                    <a:pt x="3395" y="1115"/>
                  </a:lnTo>
                  <a:lnTo>
                    <a:pt x="3349" y="1100"/>
                  </a:lnTo>
                  <a:lnTo>
                    <a:pt x="3306" y="1081"/>
                  </a:lnTo>
                  <a:lnTo>
                    <a:pt x="3266" y="1062"/>
                  </a:lnTo>
                  <a:lnTo>
                    <a:pt x="3231" y="1039"/>
                  </a:lnTo>
                  <a:lnTo>
                    <a:pt x="3199" y="1014"/>
                  </a:lnTo>
                  <a:lnTo>
                    <a:pt x="3172" y="986"/>
                  </a:lnTo>
                  <a:lnTo>
                    <a:pt x="3146" y="958"/>
                  </a:lnTo>
                  <a:lnTo>
                    <a:pt x="3124" y="925"/>
                  </a:lnTo>
                  <a:lnTo>
                    <a:pt x="3104" y="892"/>
                  </a:lnTo>
                  <a:lnTo>
                    <a:pt x="3088" y="857"/>
                  </a:lnTo>
                  <a:lnTo>
                    <a:pt x="3074" y="820"/>
                  </a:lnTo>
                  <a:lnTo>
                    <a:pt x="3063" y="780"/>
                  </a:lnTo>
                  <a:lnTo>
                    <a:pt x="3053" y="740"/>
                  </a:lnTo>
                  <a:lnTo>
                    <a:pt x="3045" y="698"/>
                  </a:lnTo>
                  <a:lnTo>
                    <a:pt x="3040" y="654"/>
                  </a:lnTo>
                  <a:lnTo>
                    <a:pt x="3035" y="610"/>
                  </a:lnTo>
                  <a:lnTo>
                    <a:pt x="3031" y="564"/>
                  </a:lnTo>
                  <a:lnTo>
                    <a:pt x="3030" y="516"/>
                  </a:lnTo>
                  <a:lnTo>
                    <a:pt x="3029" y="468"/>
                  </a:lnTo>
                  <a:lnTo>
                    <a:pt x="3029" y="419"/>
                  </a:lnTo>
                  <a:lnTo>
                    <a:pt x="3030" y="317"/>
                  </a:lnTo>
                  <a:lnTo>
                    <a:pt x="3034" y="214"/>
                  </a:lnTo>
                  <a:lnTo>
                    <a:pt x="3036" y="108"/>
                  </a:lnTo>
                  <a:lnTo>
                    <a:pt x="303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77000">
                  <a:schemeClr val="bg1">
                    <a:lumMod val="85000"/>
                  </a:schemeClr>
                </a:gs>
                <a:gs pos="37000">
                  <a:schemeClr val="bg1">
                    <a:lumMod val="8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5ED37527-DF87-40A3-B11B-EBD5E87E3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280" y="5034396"/>
              <a:ext cx="1457326" cy="41276"/>
            </a:xfrm>
            <a:custGeom>
              <a:avLst/>
              <a:gdLst>
                <a:gd name="T0" fmla="*/ 53 w 3673"/>
                <a:gd name="T1" fmla="*/ 0 h 105"/>
                <a:gd name="T2" fmla="*/ 3621 w 3673"/>
                <a:gd name="T3" fmla="*/ 0 h 105"/>
                <a:gd name="T4" fmla="*/ 3631 w 3673"/>
                <a:gd name="T5" fmla="*/ 2 h 105"/>
                <a:gd name="T6" fmla="*/ 3640 w 3673"/>
                <a:gd name="T7" fmla="*/ 5 h 105"/>
                <a:gd name="T8" fmla="*/ 3650 w 3673"/>
                <a:gd name="T9" fmla="*/ 10 h 105"/>
                <a:gd name="T10" fmla="*/ 3658 w 3673"/>
                <a:gd name="T11" fmla="*/ 15 h 105"/>
                <a:gd name="T12" fmla="*/ 3664 w 3673"/>
                <a:gd name="T13" fmla="*/ 24 h 105"/>
                <a:gd name="T14" fmla="*/ 3668 w 3673"/>
                <a:gd name="T15" fmla="*/ 33 h 105"/>
                <a:gd name="T16" fmla="*/ 3672 w 3673"/>
                <a:gd name="T17" fmla="*/ 42 h 105"/>
                <a:gd name="T18" fmla="*/ 3673 w 3673"/>
                <a:gd name="T19" fmla="*/ 53 h 105"/>
                <a:gd name="T20" fmla="*/ 3673 w 3673"/>
                <a:gd name="T21" fmla="*/ 53 h 105"/>
                <a:gd name="T22" fmla="*/ 3672 w 3673"/>
                <a:gd name="T23" fmla="*/ 63 h 105"/>
                <a:gd name="T24" fmla="*/ 3668 w 3673"/>
                <a:gd name="T25" fmla="*/ 73 h 105"/>
                <a:gd name="T26" fmla="*/ 3664 w 3673"/>
                <a:gd name="T27" fmla="*/ 81 h 105"/>
                <a:gd name="T28" fmla="*/ 3658 w 3673"/>
                <a:gd name="T29" fmla="*/ 90 h 105"/>
                <a:gd name="T30" fmla="*/ 3650 w 3673"/>
                <a:gd name="T31" fmla="*/ 95 h 105"/>
                <a:gd name="T32" fmla="*/ 3640 w 3673"/>
                <a:gd name="T33" fmla="*/ 100 h 105"/>
                <a:gd name="T34" fmla="*/ 3631 w 3673"/>
                <a:gd name="T35" fmla="*/ 103 h 105"/>
                <a:gd name="T36" fmla="*/ 3621 w 3673"/>
                <a:gd name="T37" fmla="*/ 105 h 105"/>
                <a:gd name="T38" fmla="*/ 53 w 3673"/>
                <a:gd name="T39" fmla="*/ 105 h 105"/>
                <a:gd name="T40" fmla="*/ 42 w 3673"/>
                <a:gd name="T41" fmla="*/ 103 h 105"/>
                <a:gd name="T42" fmla="*/ 32 w 3673"/>
                <a:gd name="T43" fmla="*/ 100 h 105"/>
                <a:gd name="T44" fmla="*/ 24 w 3673"/>
                <a:gd name="T45" fmla="*/ 95 h 105"/>
                <a:gd name="T46" fmla="*/ 16 w 3673"/>
                <a:gd name="T47" fmla="*/ 90 h 105"/>
                <a:gd name="T48" fmla="*/ 9 w 3673"/>
                <a:gd name="T49" fmla="*/ 81 h 105"/>
                <a:gd name="T50" fmla="*/ 4 w 3673"/>
                <a:gd name="T51" fmla="*/ 73 h 105"/>
                <a:gd name="T52" fmla="*/ 2 w 3673"/>
                <a:gd name="T53" fmla="*/ 63 h 105"/>
                <a:gd name="T54" fmla="*/ 0 w 3673"/>
                <a:gd name="T55" fmla="*/ 53 h 105"/>
                <a:gd name="T56" fmla="*/ 0 w 3673"/>
                <a:gd name="T57" fmla="*/ 53 h 105"/>
                <a:gd name="T58" fmla="*/ 2 w 3673"/>
                <a:gd name="T59" fmla="*/ 42 h 105"/>
                <a:gd name="T60" fmla="*/ 4 w 3673"/>
                <a:gd name="T61" fmla="*/ 33 h 105"/>
                <a:gd name="T62" fmla="*/ 9 w 3673"/>
                <a:gd name="T63" fmla="*/ 24 h 105"/>
                <a:gd name="T64" fmla="*/ 16 w 3673"/>
                <a:gd name="T65" fmla="*/ 15 h 105"/>
                <a:gd name="T66" fmla="*/ 24 w 3673"/>
                <a:gd name="T67" fmla="*/ 10 h 105"/>
                <a:gd name="T68" fmla="*/ 32 w 3673"/>
                <a:gd name="T69" fmla="*/ 5 h 105"/>
                <a:gd name="T70" fmla="*/ 42 w 3673"/>
                <a:gd name="T71" fmla="*/ 2 h 105"/>
                <a:gd name="T72" fmla="*/ 53 w 3673"/>
                <a:gd name="T7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73" h="105">
                  <a:moveTo>
                    <a:pt x="53" y="0"/>
                  </a:moveTo>
                  <a:lnTo>
                    <a:pt x="3621" y="0"/>
                  </a:lnTo>
                  <a:lnTo>
                    <a:pt x="3631" y="2"/>
                  </a:lnTo>
                  <a:lnTo>
                    <a:pt x="3640" y="5"/>
                  </a:lnTo>
                  <a:lnTo>
                    <a:pt x="3650" y="10"/>
                  </a:lnTo>
                  <a:lnTo>
                    <a:pt x="3658" y="15"/>
                  </a:lnTo>
                  <a:lnTo>
                    <a:pt x="3664" y="24"/>
                  </a:lnTo>
                  <a:lnTo>
                    <a:pt x="3668" y="33"/>
                  </a:lnTo>
                  <a:lnTo>
                    <a:pt x="3672" y="42"/>
                  </a:lnTo>
                  <a:lnTo>
                    <a:pt x="3673" y="53"/>
                  </a:lnTo>
                  <a:lnTo>
                    <a:pt x="3673" y="53"/>
                  </a:lnTo>
                  <a:lnTo>
                    <a:pt x="3672" y="63"/>
                  </a:lnTo>
                  <a:lnTo>
                    <a:pt x="3668" y="73"/>
                  </a:lnTo>
                  <a:lnTo>
                    <a:pt x="3664" y="81"/>
                  </a:lnTo>
                  <a:lnTo>
                    <a:pt x="3658" y="90"/>
                  </a:lnTo>
                  <a:lnTo>
                    <a:pt x="3650" y="95"/>
                  </a:lnTo>
                  <a:lnTo>
                    <a:pt x="3640" y="100"/>
                  </a:lnTo>
                  <a:lnTo>
                    <a:pt x="3631" y="103"/>
                  </a:lnTo>
                  <a:lnTo>
                    <a:pt x="3621" y="105"/>
                  </a:lnTo>
                  <a:lnTo>
                    <a:pt x="53" y="105"/>
                  </a:lnTo>
                  <a:lnTo>
                    <a:pt x="42" y="103"/>
                  </a:lnTo>
                  <a:lnTo>
                    <a:pt x="32" y="100"/>
                  </a:lnTo>
                  <a:lnTo>
                    <a:pt x="24" y="95"/>
                  </a:lnTo>
                  <a:lnTo>
                    <a:pt x="16" y="90"/>
                  </a:lnTo>
                  <a:lnTo>
                    <a:pt x="9" y="81"/>
                  </a:lnTo>
                  <a:lnTo>
                    <a:pt x="4" y="73"/>
                  </a:lnTo>
                  <a:lnTo>
                    <a:pt x="2" y="6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4" y="33"/>
                  </a:lnTo>
                  <a:lnTo>
                    <a:pt x="9" y="24"/>
                  </a:lnTo>
                  <a:lnTo>
                    <a:pt x="16" y="15"/>
                  </a:lnTo>
                  <a:lnTo>
                    <a:pt x="24" y="10"/>
                  </a:lnTo>
                  <a:lnTo>
                    <a:pt x="32" y="5"/>
                  </a:lnTo>
                  <a:lnTo>
                    <a:pt x="42" y="2"/>
                  </a:lnTo>
                  <a:lnTo>
                    <a:pt x="53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65000"/>
                  </a:schemeClr>
                </a:gs>
                <a:gs pos="44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4813714F-1AD5-4974-91F1-D9DA0482C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041" y="1664133"/>
              <a:ext cx="4233864" cy="2935289"/>
            </a:xfrm>
            <a:custGeom>
              <a:avLst/>
              <a:gdLst>
                <a:gd name="T0" fmla="*/ 10459 w 10666"/>
                <a:gd name="T1" fmla="*/ 0 h 7397"/>
                <a:gd name="T2" fmla="*/ 10500 w 10666"/>
                <a:gd name="T3" fmla="*/ 5 h 7397"/>
                <a:gd name="T4" fmla="*/ 10539 w 10666"/>
                <a:gd name="T5" fmla="*/ 16 h 7397"/>
                <a:gd name="T6" fmla="*/ 10575 w 10666"/>
                <a:gd name="T7" fmla="*/ 36 h 7397"/>
                <a:gd name="T8" fmla="*/ 10605 w 10666"/>
                <a:gd name="T9" fmla="*/ 61 h 7397"/>
                <a:gd name="T10" fmla="*/ 10630 w 10666"/>
                <a:gd name="T11" fmla="*/ 91 h 7397"/>
                <a:gd name="T12" fmla="*/ 10650 w 10666"/>
                <a:gd name="T13" fmla="*/ 127 h 7397"/>
                <a:gd name="T14" fmla="*/ 10661 w 10666"/>
                <a:gd name="T15" fmla="*/ 166 h 7397"/>
                <a:gd name="T16" fmla="*/ 10666 w 10666"/>
                <a:gd name="T17" fmla="*/ 207 h 7397"/>
                <a:gd name="T18" fmla="*/ 10665 w 10666"/>
                <a:gd name="T19" fmla="*/ 7211 h 7397"/>
                <a:gd name="T20" fmla="*/ 10657 w 10666"/>
                <a:gd name="T21" fmla="*/ 7251 h 7397"/>
                <a:gd name="T22" fmla="*/ 10641 w 10666"/>
                <a:gd name="T23" fmla="*/ 7288 h 7397"/>
                <a:gd name="T24" fmla="*/ 10619 w 10666"/>
                <a:gd name="T25" fmla="*/ 7321 h 7397"/>
                <a:gd name="T26" fmla="*/ 10591 w 10666"/>
                <a:gd name="T27" fmla="*/ 7350 h 7397"/>
                <a:gd name="T28" fmla="*/ 10557 w 10666"/>
                <a:gd name="T29" fmla="*/ 7372 h 7397"/>
                <a:gd name="T30" fmla="*/ 10520 w 10666"/>
                <a:gd name="T31" fmla="*/ 7388 h 7397"/>
                <a:gd name="T32" fmla="*/ 10480 w 10666"/>
                <a:gd name="T33" fmla="*/ 7396 h 7397"/>
                <a:gd name="T34" fmla="*/ 207 w 10666"/>
                <a:gd name="T35" fmla="*/ 7397 h 7397"/>
                <a:gd name="T36" fmla="*/ 165 w 10666"/>
                <a:gd name="T37" fmla="*/ 7393 h 7397"/>
                <a:gd name="T38" fmla="*/ 126 w 10666"/>
                <a:gd name="T39" fmla="*/ 7381 h 7397"/>
                <a:gd name="T40" fmla="*/ 91 w 10666"/>
                <a:gd name="T41" fmla="*/ 7361 h 7397"/>
                <a:gd name="T42" fmla="*/ 60 w 10666"/>
                <a:gd name="T43" fmla="*/ 7336 h 7397"/>
                <a:gd name="T44" fmla="*/ 34 w 10666"/>
                <a:gd name="T45" fmla="*/ 7306 h 7397"/>
                <a:gd name="T46" fmla="*/ 16 w 10666"/>
                <a:gd name="T47" fmla="*/ 7270 h 7397"/>
                <a:gd name="T48" fmla="*/ 3 w 10666"/>
                <a:gd name="T49" fmla="*/ 7232 h 7397"/>
                <a:gd name="T50" fmla="*/ 0 w 10666"/>
                <a:gd name="T51" fmla="*/ 7190 h 7397"/>
                <a:gd name="T52" fmla="*/ 1 w 10666"/>
                <a:gd name="T53" fmla="*/ 186 h 7397"/>
                <a:gd name="T54" fmla="*/ 9 w 10666"/>
                <a:gd name="T55" fmla="*/ 146 h 7397"/>
                <a:gd name="T56" fmla="*/ 24 w 10666"/>
                <a:gd name="T57" fmla="*/ 109 h 7397"/>
                <a:gd name="T58" fmla="*/ 47 w 10666"/>
                <a:gd name="T59" fmla="*/ 75 h 7397"/>
                <a:gd name="T60" fmla="*/ 75 w 10666"/>
                <a:gd name="T61" fmla="*/ 47 h 7397"/>
                <a:gd name="T62" fmla="*/ 108 w 10666"/>
                <a:gd name="T63" fmla="*/ 25 h 7397"/>
                <a:gd name="T64" fmla="*/ 146 w 10666"/>
                <a:gd name="T65" fmla="*/ 9 h 7397"/>
                <a:gd name="T66" fmla="*/ 186 w 10666"/>
                <a:gd name="T67" fmla="*/ 1 h 7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66" h="7397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7190"/>
                  </a:lnTo>
                  <a:lnTo>
                    <a:pt x="10665" y="7211"/>
                  </a:lnTo>
                  <a:lnTo>
                    <a:pt x="10661" y="7232"/>
                  </a:lnTo>
                  <a:lnTo>
                    <a:pt x="10657" y="7251"/>
                  </a:lnTo>
                  <a:lnTo>
                    <a:pt x="10650" y="7270"/>
                  </a:lnTo>
                  <a:lnTo>
                    <a:pt x="10641" y="7288"/>
                  </a:lnTo>
                  <a:lnTo>
                    <a:pt x="10630" y="7306"/>
                  </a:lnTo>
                  <a:lnTo>
                    <a:pt x="10619" y="7321"/>
                  </a:lnTo>
                  <a:lnTo>
                    <a:pt x="10605" y="7336"/>
                  </a:lnTo>
                  <a:lnTo>
                    <a:pt x="10591" y="7350"/>
                  </a:lnTo>
                  <a:lnTo>
                    <a:pt x="10575" y="7361"/>
                  </a:lnTo>
                  <a:lnTo>
                    <a:pt x="10557" y="7372"/>
                  </a:lnTo>
                  <a:lnTo>
                    <a:pt x="10539" y="7381"/>
                  </a:lnTo>
                  <a:lnTo>
                    <a:pt x="10520" y="7388"/>
                  </a:lnTo>
                  <a:lnTo>
                    <a:pt x="10500" y="7393"/>
                  </a:lnTo>
                  <a:lnTo>
                    <a:pt x="10480" y="7396"/>
                  </a:lnTo>
                  <a:lnTo>
                    <a:pt x="10459" y="7397"/>
                  </a:lnTo>
                  <a:lnTo>
                    <a:pt x="207" y="7397"/>
                  </a:lnTo>
                  <a:lnTo>
                    <a:pt x="186" y="7396"/>
                  </a:lnTo>
                  <a:lnTo>
                    <a:pt x="165" y="7393"/>
                  </a:lnTo>
                  <a:lnTo>
                    <a:pt x="146" y="7388"/>
                  </a:lnTo>
                  <a:lnTo>
                    <a:pt x="126" y="7381"/>
                  </a:lnTo>
                  <a:lnTo>
                    <a:pt x="108" y="7372"/>
                  </a:lnTo>
                  <a:lnTo>
                    <a:pt x="91" y="7361"/>
                  </a:lnTo>
                  <a:lnTo>
                    <a:pt x="75" y="7350"/>
                  </a:lnTo>
                  <a:lnTo>
                    <a:pt x="60" y="7336"/>
                  </a:lnTo>
                  <a:lnTo>
                    <a:pt x="47" y="7321"/>
                  </a:lnTo>
                  <a:lnTo>
                    <a:pt x="34" y="7306"/>
                  </a:lnTo>
                  <a:lnTo>
                    <a:pt x="24" y="7288"/>
                  </a:lnTo>
                  <a:lnTo>
                    <a:pt x="16" y="7270"/>
                  </a:lnTo>
                  <a:lnTo>
                    <a:pt x="9" y="7251"/>
                  </a:lnTo>
                  <a:lnTo>
                    <a:pt x="3" y="7232"/>
                  </a:lnTo>
                  <a:lnTo>
                    <a:pt x="1" y="7211"/>
                  </a:lnTo>
                  <a:lnTo>
                    <a:pt x="0" y="7190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4C423E08-144C-4952-B156-DA2D5ABC0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041" y="1664133"/>
              <a:ext cx="4233864" cy="2554289"/>
            </a:xfrm>
            <a:custGeom>
              <a:avLst/>
              <a:gdLst>
                <a:gd name="T0" fmla="*/ 207 w 10666"/>
                <a:gd name="T1" fmla="*/ 0 h 6436"/>
                <a:gd name="T2" fmla="*/ 10459 w 10666"/>
                <a:gd name="T3" fmla="*/ 0 h 6436"/>
                <a:gd name="T4" fmla="*/ 10480 w 10666"/>
                <a:gd name="T5" fmla="*/ 1 h 6436"/>
                <a:gd name="T6" fmla="*/ 10500 w 10666"/>
                <a:gd name="T7" fmla="*/ 5 h 6436"/>
                <a:gd name="T8" fmla="*/ 10520 w 10666"/>
                <a:gd name="T9" fmla="*/ 9 h 6436"/>
                <a:gd name="T10" fmla="*/ 10539 w 10666"/>
                <a:gd name="T11" fmla="*/ 16 h 6436"/>
                <a:gd name="T12" fmla="*/ 10557 w 10666"/>
                <a:gd name="T13" fmla="*/ 25 h 6436"/>
                <a:gd name="T14" fmla="*/ 10575 w 10666"/>
                <a:gd name="T15" fmla="*/ 36 h 6436"/>
                <a:gd name="T16" fmla="*/ 10591 w 10666"/>
                <a:gd name="T17" fmla="*/ 47 h 6436"/>
                <a:gd name="T18" fmla="*/ 10605 w 10666"/>
                <a:gd name="T19" fmla="*/ 61 h 6436"/>
                <a:gd name="T20" fmla="*/ 10619 w 10666"/>
                <a:gd name="T21" fmla="*/ 75 h 6436"/>
                <a:gd name="T22" fmla="*/ 10630 w 10666"/>
                <a:gd name="T23" fmla="*/ 91 h 6436"/>
                <a:gd name="T24" fmla="*/ 10641 w 10666"/>
                <a:gd name="T25" fmla="*/ 109 h 6436"/>
                <a:gd name="T26" fmla="*/ 10650 w 10666"/>
                <a:gd name="T27" fmla="*/ 127 h 6436"/>
                <a:gd name="T28" fmla="*/ 10657 w 10666"/>
                <a:gd name="T29" fmla="*/ 146 h 6436"/>
                <a:gd name="T30" fmla="*/ 10661 w 10666"/>
                <a:gd name="T31" fmla="*/ 166 h 6436"/>
                <a:gd name="T32" fmla="*/ 10665 w 10666"/>
                <a:gd name="T33" fmla="*/ 186 h 6436"/>
                <a:gd name="T34" fmla="*/ 10666 w 10666"/>
                <a:gd name="T35" fmla="*/ 207 h 6436"/>
                <a:gd name="T36" fmla="*/ 10666 w 10666"/>
                <a:gd name="T37" fmla="*/ 6436 h 6436"/>
                <a:gd name="T38" fmla="*/ 0 w 10666"/>
                <a:gd name="T39" fmla="*/ 6436 h 6436"/>
                <a:gd name="T40" fmla="*/ 0 w 10666"/>
                <a:gd name="T41" fmla="*/ 207 h 6436"/>
                <a:gd name="T42" fmla="*/ 1 w 10666"/>
                <a:gd name="T43" fmla="*/ 186 h 6436"/>
                <a:gd name="T44" fmla="*/ 3 w 10666"/>
                <a:gd name="T45" fmla="*/ 166 h 6436"/>
                <a:gd name="T46" fmla="*/ 9 w 10666"/>
                <a:gd name="T47" fmla="*/ 146 h 6436"/>
                <a:gd name="T48" fmla="*/ 16 w 10666"/>
                <a:gd name="T49" fmla="*/ 127 h 6436"/>
                <a:gd name="T50" fmla="*/ 24 w 10666"/>
                <a:gd name="T51" fmla="*/ 109 h 6436"/>
                <a:gd name="T52" fmla="*/ 34 w 10666"/>
                <a:gd name="T53" fmla="*/ 91 h 6436"/>
                <a:gd name="T54" fmla="*/ 47 w 10666"/>
                <a:gd name="T55" fmla="*/ 75 h 6436"/>
                <a:gd name="T56" fmla="*/ 60 w 10666"/>
                <a:gd name="T57" fmla="*/ 61 h 6436"/>
                <a:gd name="T58" fmla="*/ 75 w 10666"/>
                <a:gd name="T59" fmla="*/ 47 h 6436"/>
                <a:gd name="T60" fmla="*/ 91 w 10666"/>
                <a:gd name="T61" fmla="*/ 36 h 6436"/>
                <a:gd name="T62" fmla="*/ 108 w 10666"/>
                <a:gd name="T63" fmla="*/ 25 h 6436"/>
                <a:gd name="T64" fmla="*/ 126 w 10666"/>
                <a:gd name="T65" fmla="*/ 16 h 6436"/>
                <a:gd name="T66" fmla="*/ 146 w 10666"/>
                <a:gd name="T67" fmla="*/ 9 h 6436"/>
                <a:gd name="T68" fmla="*/ 165 w 10666"/>
                <a:gd name="T69" fmla="*/ 5 h 6436"/>
                <a:gd name="T70" fmla="*/ 186 w 10666"/>
                <a:gd name="T71" fmla="*/ 1 h 6436"/>
                <a:gd name="T72" fmla="*/ 207 w 10666"/>
                <a:gd name="T73" fmla="*/ 0 h 6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66" h="6436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6436"/>
                  </a:lnTo>
                  <a:lnTo>
                    <a:pt x="0" y="6436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10">
              <a:extLst>
                <a:ext uri="{FF2B5EF4-FFF2-40B4-BE49-F238E27FC236}">
                  <a16:creationId xmlns:a16="http://schemas.microsoft.com/office/drawing/2014/main" id="{3F5727D7-920D-4B05-948A-3311BD193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7616" y="1829233"/>
              <a:ext cx="3924302" cy="222408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11">
              <a:extLst>
                <a:ext uri="{FF2B5EF4-FFF2-40B4-BE49-F238E27FC236}">
                  <a16:creationId xmlns:a16="http://schemas.microsoft.com/office/drawing/2014/main" id="{9E156F93-7C54-4A3A-88CA-E18A2B928C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7616" y="1829233"/>
              <a:ext cx="3924302" cy="4127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A5233A5F-BE59-4773-9C92-63D4F33CA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3" y="3986647"/>
              <a:ext cx="1874839" cy="66675"/>
            </a:xfrm>
            <a:custGeom>
              <a:avLst/>
              <a:gdLst>
                <a:gd name="T0" fmla="*/ 112 w 4724"/>
                <a:gd name="T1" fmla="*/ 0 h 169"/>
                <a:gd name="T2" fmla="*/ 4569 w 4724"/>
                <a:gd name="T3" fmla="*/ 0 h 169"/>
                <a:gd name="T4" fmla="*/ 4724 w 4724"/>
                <a:gd name="T5" fmla="*/ 169 h 169"/>
                <a:gd name="T6" fmla="*/ 0 w 4724"/>
                <a:gd name="T7" fmla="*/ 169 h 169"/>
                <a:gd name="T8" fmla="*/ 112 w 4724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4" h="169">
                  <a:moveTo>
                    <a:pt x="112" y="0"/>
                  </a:moveTo>
                  <a:lnTo>
                    <a:pt x="4569" y="0"/>
                  </a:lnTo>
                  <a:lnTo>
                    <a:pt x="4724" y="169"/>
                  </a:lnTo>
                  <a:lnTo>
                    <a:pt x="0" y="169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66092582-D255-4F27-9E20-FC7D75126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8630" y="1664133"/>
              <a:ext cx="2327275" cy="2503490"/>
            </a:xfrm>
            <a:custGeom>
              <a:avLst/>
              <a:gdLst>
                <a:gd name="T0" fmla="*/ 3815 w 5865"/>
                <a:gd name="T1" fmla="*/ 0 h 6311"/>
                <a:gd name="T2" fmla="*/ 5660 w 5865"/>
                <a:gd name="T3" fmla="*/ 0 h 6311"/>
                <a:gd name="T4" fmla="*/ 5681 w 5865"/>
                <a:gd name="T5" fmla="*/ 1 h 6311"/>
                <a:gd name="T6" fmla="*/ 5702 w 5865"/>
                <a:gd name="T7" fmla="*/ 4 h 6311"/>
                <a:gd name="T8" fmla="*/ 5721 w 5865"/>
                <a:gd name="T9" fmla="*/ 9 h 6311"/>
                <a:gd name="T10" fmla="*/ 5740 w 5865"/>
                <a:gd name="T11" fmla="*/ 16 h 6311"/>
                <a:gd name="T12" fmla="*/ 5758 w 5865"/>
                <a:gd name="T13" fmla="*/ 24 h 6311"/>
                <a:gd name="T14" fmla="*/ 5775 w 5865"/>
                <a:gd name="T15" fmla="*/ 34 h 6311"/>
                <a:gd name="T16" fmla="*/ 5791 w 5865"/>
                <a:gd name="T17" fmla="*/ 46 h 6311"/>
                <a:gd name="T18" fmla="*/ 5805 w 5865"/>
                <a:gd name="T19" fmla="*/ 60 h 6311"/>
                <a:gd name="T20" fmla="*/ 5819 w 5865"/>
                <a:gd name="T21" fmla="*/ 74 h 6311"/>
                <a:gd name="T22" fmla="*/ 5830 w 5865"/>
                <a:gd name="T23" fmla="*/ 90 h 6311"/>
                <a:gd name="T24" fmla="*/ 5841 w 5865"/>
                <a:gd name="T25" fmla="*/ 106 h 6311"/>
                <a:gd name="T26" fmla="*/ 5849 w 5865"/>
                <a:gd name="T27" fmla="*/ 125 h 6311"/>
                <a:gd name="T28" fmla="*/ 5856 w 5865"/>
                <a:gd name="T29" fmla="*/ 143 h 6311"/>
                <a:gd name="T30" fmla="*/ 5861 w 5865"/>
                <a:gd name="T31" fmla="*/ 163 h 6311"/>
                <a:gd name="T32" fmla="*/ 5864 w 5865"/>
                <a:gd name="T33" fmla="*/ 182 h 6311"/>
                <a:gd name="T34" fmla="*/ 5865 w 5865"/>
                <a:gd name="T35" fmla="*/ 203 h 6311"/>
                <a:gd name="T36" fmla="*/ 5865 w 5865"/>
                <a:gd name="T37" fmla="*/ 6311 h 6311"/>
                <a:gd name="T38" fmla="*/ 0 w 5865"/>
                <a:gd name="T39" fmla="*/ 6311 h 6311"/>
                <a:gd name="T40" fmla="*/ 3815 w 5865"/>
                <a:gd name="T41" fmla="*/ 0 h 6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65" h="6311">
                  <a:moveTo>
                    <a:pt x="3815" y="0"/>
                  </a:moveTo>
                  <a:lnTo>
                    <a:pt x="5660" y="0"/>
                  </a:lnTo>
                  <a:lnTo>
                    <a:pt x="5681" y="1"/>
                  </a:lnTo>
                  <a:lnTo>
                    <a:pt x="5702" y="4"/>
                  </a:lnTo>
                  <a:lnTo>
                    <a:pt x="5721" y="9"/>
                  </a:lnTo>
                  <a:lnTo>
                    <a:pt x="5740" y="16"/>
                  </a:lnTo>
                  <a:lnTo>
                    <a:pt x="5758" y="24"/>
                  </a:lnTo>
                  <a:lnTo>
                    <a:pt x="5775" y="34"/>
                  </a:lnTo>
                  <a:lnTo>
                    <a:pt x="5791" y="46"/>
                  </a:lnTo>
                  <a:lnTo>
                    <a:pt x="5805" y="60"/>
                  </a:lnTo>
                  <a:lnTo>
                    <a:pt x="5819" y="74"/>
                  </a:lnTo>
                  <a:lnTo>
                    <a:pt x="5830" y="90"/>
                  </a:lnTo>
                  <a:lnTo>
                    <a:pt x="5841" y="106"/>
                  </a:lnTo>
                  <a:lnTo>
                    <a:pt x="5849" y="125"/>
                  </a:lnTo>
                  <a:lnTo>
                    <a:pt x="5856" y="143"/>
                  </a:lnTo>
                  <a:lnTo>
                    <a:pt x="5861" y="163"/>
                  </a:lnTo>
                  <a:lnTo>
                    <a:pt x="5864" y="182"/>
                  </a:lnTo>
                  <a:lnTo>
                    <a:pt x="5865" y="203"/>
                  </a:lnTo>
                  <a:lnTo>
                    <a:pt x="5865" y="6311"/>
                  </a:lnTo>
                  <a:lnTo>
                    <a:pt x="0" y="6311"/>
                  </a:lnTo>
                  <a:lnTo>
                    <a:pt x="3815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36000"/>
                  </a:schemeClr>
                </a:gs>
                <a:gs pos="50000">
                  <a:schemeClr val="bg1">
                    <a:alpha val="13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A1F45A6D-466C-4497-8ECD-DE6B04D6BE1F}"/>
              </a:ext>
            </a:extLst>
          </p:cNvPr>
          <p:cNvSpPr/>
          <p:nvPr/>
        </p:nvSpPr>
        <p:spPr>
          <a:xfrm>
            <a:off x="3120433" y="1879910"/>
            <a:ext cx="751306" cy="75130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161139" y="2743564"/>
            <a:ext cx="4659090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. Morbi </a:t>
            </a:r>
            <a:r>
              <a:rPr lang="en-US" dirty="0" err="1">
                <a:solidFill>
                  <a:schemeClr val="bg1"/>
                </a:solidFill>
              </a:rPr>
              <a:t>condimentum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uismod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u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viverra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dirty="0" err="1">
                <a:solidFill>
                  <a:schemeClr val="bg1"/>
                </a:solidFill>
              </a:rPr>
              <a:t>Etiam</a:t>
            </a:r>
            <a:r>
              <a:rPr lang="en-US" dirty="0">
                <a:solidFill>
                  <a:schemeClr val="bg1"/>
                </a:solidFill>
              </a:rPr>
              <a:t> cursus </a:t>
            </a:r>
            <a:r>
              <a:rPr lang="en-US" dirty="0" err="1">
                <a:solidFill>
                  <a:schemeClr val="bg1"/>
                </a:solidFill>
              </a:rPr>
              <a:t>nec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lacu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ec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rhoncus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dirty="0" err="1">
                <a:solidFill>
                  <a:schemeClr val="bg1"/>
                </a:solidFill>
              </a:rPr>
              <a:t>Pellentesque</a:t>
            </a:r>
            <a:r>
              <a:rPr lang="en-US" dirty="0">
                <a:solidFill>
                  <a:schemeClr val="bg1"/>
                </a:solidFill>
              </a:rPr>
              <a:t> ac </a:t>
            </a:r>
            <a:r>
              <a:rPr lang="en-US" dirty="0" err="1">
                <a:solidFill>
                  <a:schemeClr val="bg1"/>
                </a:solidFill>
              </a:rPr>
              <a:t>hendreri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nim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dirty="0" err="1">
                <a:solidFill>
                  <a:schemeClr val="bg1"/>
                </a:solidFill>
              </a:rPr>
              <a:t>Fusce</a:t>
            </a:r>
            <a:r>
              <a:rPr lang="en-US" dirty="0">
                <a:solidFill>
                  <a:schemeClr val="bg1"/>
                </a:solidFill>
              </a:rPr>
              <a:t> id </a:t>
            </a:r>
            <a:r>
              <a:rPr lang="en-US" dirty="0" err="1">
                <a:solidFill>
                  <a:schemeClr val="bg1"/>
                </a:solidFill>
              </a:rPr>
              <a:t>odio</a:t>
            </a:r>
            <a:r>
              <a:rPr lang="en-US" dirty="0">
                <a:solidFill>
                  <a:schemeClr val="bg1"/>
                </a:solidFill>
              </a:rPr>
              <a:t> et </a:t>
            </a:r>
            <a:r>
              <a:rPr lang="en-US" dirty="0" err="1">
                <a:solidFill>
                  <a:schemeClr val="bg1"/>
                </a:solidFill>
              </a:rPr>
              <a:t>era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ncidun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odales</a:t>
            </a:r>
            <a:r>
              <a:rPr lang="en-US" dirty="0">
                <a:solidFill>
                  <a:schemeClr val="bg1"/>
                </a:solidFill>
              </a:rPr>
              <a:t> at a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. 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BC4C978-44FE-460A-AE62-87C0408DA591}"/>
              </a:ext>
            </a:extLst>
          </p:cNvPr>
          <p:cNvGrpSpPr/>
          <p:nvPr/>
        </p:nvGrpSpPr>
        <p:grpSpPr>
          <a:xfrm>
            <a:off x="3347809" y="2148407"/>
            <a:ext cx="285750" cy="214313"/>
            <a:chOff x="2614613" y="809625"/>
            <a:chExt cx="285750" cy="214313"/>
          </a:xfrm>
          <a:solidFill>
            <a:schemeClr val="bg1"/>
          </a:solidFill>
        </p:grpSpPr>
        <p:sp>
          <p:nvSpPr>
            <p:cNvPr id="63" name="Freeform 78">
              <a:extLst>
                <a:ext uri="{FF2B5EF4-FFF2-40B4-BE49-F238E27FC236}">
                  <a16:creationId xmlns:a16="http://schemas.microsoft.com/office/drawing/2014/main" id="{D266A92F-F123-48ED-BA6A-EA2E76EDC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613" y="809625"/>
              <a:ext cx="133350" cy="214313"/>
            </a:xfrm>
            <a:custGeom>
              <a:avLst/>
              <a:gdLst>
                <a:gd name="T0" fmla="*/ 316 w 335"/>
                <a:gd name="T1" fmla="*/ 47 h 540"/>
                <a:gd name="T2" fmla="*/ 325 w 335"/>
                <a:gd name="T3" fmla="*/ 43 h 540"/>
                <a:gd name="T4" fmla="*/ 331 w 335"/>
                <a:gd name="T5" fmla="*/ 37 h 540"/>
                <a:gd name="T6" fmla="*/ 335 w 335"/>
                <a:gd name="T7" fmla="*/ 28 h 540"/>
                <a:gd name="T8" fmla="*/ 335 w 335"/>
                <a:gd name="T9" fmla="*/ 19 h 540"/>
                <a:gd name="T10" fmla="*/ 331 w 335"/>
                <a:gd name="T11" fmla="*/ 10 h 540"/>
                <a:gd name="T12" fmla="*/ 325 w 335"/>
                <a:gd name="T13" fmla="*/ 4 h 540"/>
                <a:gd name="T14" fmla="*/ 316 w 335"/>
                <a:gd name="T15" fmla="*/ 0 h 540"/>
                <a:gd name="T16" fmla="*/ 294 w 335"/>
                <a:gd name="T17" fmla="*/ 0 h 540"/>
                <a:gd name="T18" fmla="*/ 260 w 335"/>
                <a:gd name="T19" fmla="*/ 3 h 540"/>
                <a:gd name="T20" fmla="*/ 227 w 335"/>
                <a:gd name="T21" fmla="*/ 10 h 540"/>
                <a:gd name="T22" fmla="*/ 198 w 335"/>
                <a:gd name="T23" fmla="*/ 20 h 540"/>
                <a:gd name="T24" fmla="*/ 169 w 335"/>
                <a:gd name="T25" fmla="*/ 33 h 540"/>
                <a:gd name="T26" fmla="*/ 142 w 335"/>
                <a:gd name="T27" fmla="*/ 49 h 540"/>
                <a:gd name="T28" fmla="*/ 117 w 335"/>
                <a:gd name="T29" fmla="*/ 68 h 540"/>
                <a:gd name="T30" fmla="*/ 95 w 335"/>
                <a:gd name="T31" fmla="*/ 89 h 540"/>
                <a:gd name="T32" fmla="*/ 75 w 335"/>
                <a:gd name="T33" fmla="*/ 113 h 540"/>
                <a:gd name="T34" fmla="*/ 57 w 335"/>
                <a:gd name="T35" fmla="*/ 141 h 540"/>
                <a:gd name="T36" fmla="*/ 41 w 335"/>
                <a:gd name="T37" fmla="*/ 170 h 540"/>
                <a:gd name="T38" fmla="*/ 27 w 335"/>
                <a:gd name="T39" fmla="*/ 202 h 540"/>
                <a:gd name="T40" fmla="*/ 17 w 335"/>
                <a:gd name="T41" fmla="*/ 236 h 540"/>
                <a:gd name="T42" fmla="*/ 8 w 335"/>
                <a:gd name="T43" fmla="*/ 272 h 540"/>
                <a:gd name="T44" fmla="*/ 3 w 335"/>
                <a:gd name="T45" fmla="*/ 310 h 540"/>
                <a:gd name="T46" fmla="*/ 0 w 335"/>
                <a:gd name="T47" fmla="*/ 351 h 540"/>
                <a:gd name="T48" fmla="*/ 1 w 335"/>
                <a:gd name="T49" fmla="*/ 390 h 540"/>
                <a:gd name="T50" fmla="*/ 7 w 335"/>
                <a:gd name="T51" fmla="*/ 422 h 540"/>
                <a:gd name="T52" fmla="*/ 20 w 335"/>
                <a:gd name="T53" fmla="*/ 452 h 540"/>
                <a:gd name="T54" fmla="*/ 38 w 335"/>
                <a:gd name="T55" fmla="*/ 478 h 540"/>
                <a:gd name="T56" fmla="*/ 61 w 335"/>
                <a:gd name="T57" fmla="*/ 502 h 540"/>
                <a:gd name="T58" fmla="*/ 88 w 335"/>
                <a:gd name="T59" fmla="*/ 520 h 540"/>
                <a:gd name="T60" fmla="*/ 117 w 335"/>
                <a:gd name="T61" fmla="*/ 532 h 540"/>
                <a:gd name="T62" fmla="*/ 150 w 335"/>
                <a:gd name="T63" fmla="*/ 539 h 540"/>
                <a:gd name="T64" fmla="*/ 185 w 335"/>
                <a:gd name="T65" fmla="*/ 539 h 540"/>
                <a:gd name="T66" fmla="*/ 218 w 335"/>
                <a:gd name="T67" fmla="*/ 532 h 540"/>
                <a:gd name="T68" fmla="*/ 248 w 335"/>
                <a:gd name="T69" fmla="*/ 520 h 540"/>
                <a:gd name="T70" fmla="*/ 274 w 335"/>
                <a:gd name="T71" fmla="*/ 502 h 540"/>
                <a:gd name="T72" fmla="*/ 297 w 335"/>
                <a:gd name="T73" fmla="*/ 478 h 540"/>
                <a:gd name="T74" fmla="*/ 315 w 335"/>
                <a:gd name="T75" fmla="*/ 452 h 540"/>
                <a:gd name="T76" fmla="*/ 328 w 335"/>
                <a:gd name="T77" fmla="*/ 422 h 540"/>
                <a:gd name="T78" fmla="*/ 334 w 335"/>
                <a:gd name="T79" fmla="*/ 390 h 540"/>
                <a:gd name="T80" fmla="*/ 334 w 335"/>
                <a:gd name="T81" fmla="*/ 355 h 540"/>
                <a:gd name="T82" fmla="*/ 328 w 335"/>
                <a:gd name="T83" fmla="*/ 322 h 540"/>
                <a:gd name="T84" fmla="*/ 315 w 335"/>
                <a:gd name="T85" fmla="*/ 292 h 540"/>
                <a:gd name="T86" fmla="*/ 297 w 335"/>
                <a:gd name="T87" fmla="*/ 265 h 540"/>
                <a:gd name="T88" fmla="*/ 274 w 335"/>
                <a:gd name="T89" fmla="*/ 242 h 540"/>
                <a:gd name="T90" fmla="*/ 248 w 335"/>
                <a:gd name="T91" fmla="*/ 224 h 540"/>
                <a:gd name="T92" fmla="*/ 218 w 335"/>
                <a:gd name="T93" fmla="*/ 212 h 540"/>
                <a:gd name="T94" fmla="*/ 185 w 335"/>
                <a:gd name="T95" fmla="*/ 204 h 540"/>
                <a:gd name="T96" fmla="*/ 153 w 335"/>
                <a:gd name="T97" fmla="*/ 204 h 540"/>
                <a:gd name="T98" fmla="*/ 126 w 335"/>
                <a:gd name="T99" fmla="*/ 209 h 540"/>
                <a:gd name="T100" fmla="*/ 99 w 335"/>
                <a:gd name="T101" fmla="*/ 218 h 540"/>
                <a:gd name="T102" fmla="*/ 76 w 335"/>
                <a:gd name="T103" fmla="*/ 232 h 540"/>
                <a:gd name="T104" fmla="*/ 73 w 335"/>
                <a:gd name="T105" fmla="*/ 214 h 540"/>
                <a:gd name="T106" fmla="*/ 94 w 335"/>
                <a:gd name="T107" fmla="*/ 170 h 540"/>
                <a:gd name="T108" fmla="*/ 119 w 335"/>
                <a:gd name="T109" fmla="*/ 133 h 540"/>
                <a:gd name="T110" fmla="*/ 150 w 335"/>
                <a:gd name="T111" fmla="*/ 104 h 540"/>
                <a:gd name="T112" fmla="*/ 183 w 335"/>
                <a:gd name="T113" fmla="*/ 80 h 540"/>
                <a:gd name="T114" fmla="*/ 218 w 335"/>
                <a:gd name="T115" fmla="*/ 64 h 540"/>
                <a:gd name="T116" fmla="*/ 255 w 335"/>
                <a:gd name="T117" fmla="*/ 54 h 540"/>
                <a:gd name="T118" fmla="*/ 293 w 335"/>
                <a:gd name="T119" fmla="*/ 49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5" h="540">
                  <a:moveTo>
                    <a:pt x="312" y="47"/>
                  </a:moveTo>
                  <a:lnTo>
                    <a:pt x="316" y="47"/>
                  </a:lnTo>
                  <a:lnTo>
                    <a:pt x="321" y="45"/>
                  </a:lnTo>
                  <a:lnTo>
                    <a:pt x="325" y="43"/>
                  </a:lnTo>
                  <a:lnTo>
                    <a:pt x="329" y="41"/>
                  </a:lnTo>
                  <a:lnTo>
                    <a:pt x="331" y="37"/>
                  </a:lnTo>
                  <a:lnTo>
                    <a:pt x="333" y="33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5" y="19"/>
                  </a:lnTo>
                  <a:lnTo>
                    <a:pt x="333" y="15"/>
                  </a:lnTo>
                  <a:lnTo>
                    <a:pt x="331" y="10"/>
                  </a:lnTo>
                  <a:lnTo>
                    <a:pt x="329" y="6"/>
                  </a:lnTo>
                  <a:lnTo>
                    <a:pt x="325" y="4"/>
                  </a:lnTo>
                  <a:lnTo>
                    <a:pt x="321" y="2"/>
                  </a:lnTo>
                  <a:lnTo>
                    <a:pt x="316" y="0"/>
                  </a:lnTo>
                  <a:lnTo>
                    <a:pt x="312" y="0"/>
                  </a:lnTo>
                  <a:lnTo>
                    <a:pt x="294" y="0"/>
                  </a:lnTo>
                  <a:lnTo>
                    <a:pt x="277" y="1"/>
                  </a:lnTo>
                  <a:lnTo>
                    <a:pt x="260" y="3"/>
                  </a:lnTo>
                  <a:lnTo>
                    <a:pt x="244" y="6"/>
                  </a:lnTo>
                  <a:lnTo>
                    <a:pt x="227" y="10"/>
                  </a:lnTo>
                  <a:lnTo>
                    <a:pt x="213" y="15"/>
                  </a:lnTo>
                  <a:lnTo>
                    <a:pt x="198" y="20"/>
                  </a:lnTo>
                  <a:lnTo>
                    <a:pt x="183" y="26"/>
                  </a:lnTo>
                  <a:lnTo>
                    <a:pt x="169" y="33"/>
                  </a:lnTo>
                  <a:lnTo>
                    <a:pt x="155" y="40"/>
                  </a:lnTo>
                  <a:lnTo>
                    <a:pt x="142" y="49"/>
                  </a:lnTo>
                  <a:lnTo>
                    <a:pt x="130" y="58"/>
                  </a:lnTo>
                  <a:lnTo>
                    <a:pt x="117" y="68"/>
                  </a:lnTo>
                  <a:lnTo>
                    <a:pt x="106" y="78"/>
                  </a:lnTo>
                  <a:lnTo>
                    <a:pt x="95" y="89"/>
                  </a:lnTo>
                  <a:lnTo>
                    <a:pt x="84" y="101"/>
                  </a:lnTo>
                  <a:lnTo>
                    <a:pt x="75" y="113"/>
                  </a:lnTo>
                  <a:lnTo>
                    <a:pt x="65" y="127"/>
                  </a:lnTo>
                  <a:lnTo>
                    <a:pt x="57" y="141"/>
                  </a:lnTo>
                  <a:lnTo>
                    <a:pt x="48" y="154"/>
                  </a:lnTo>
                  <a:lnTo>
                    <a:pt x="41" y="170"/>
                  </a:lnTo>
                  <a:lnTo>
                    <a:pt x="34" y="185"/>
                  </a:lnTo>
                  <a:lnTo>
                    <a:pt x="27" y="202"/>
                  </a:lnTo>
                  <a:lnTo>
                    <a:pt x="22" y="218"/>
                  </a:lnTo>
                  <a:lnTo>
                    <a:pt x="17" y="236"/>
                  </a:lnTo>
                  <a:lnTo>
                    <a:pt x="12" y="254"/>
                  </a:lnTo>
                  <a:lnTo>
                    <a:pt x="8" y="272"/>
                  </a:lnTo>
                  <a:lnTo>
                    <a:pt x="5" y="291"/>
                  </a:lnTo>
                  <a:lnTo>
                    <a:pt x="3" y="310"/>
                  </a:lnTo>
                  <a:lnTo>
                    <a:pt x="1" y="330"/>
                  </a:lnTo>
                  <a:lnTo>
                    <a:pt x="0" y="351"/>
                  </a:lnTo>
                  <a:lnTo>
                    <a:pt x="0" y="371"/>
                  </a:lnTo>
                  <a:lnTo>
                    <a:pt x="1" y="390"/>
                  </a:lnTo>
                  <a:lnTo>
                    <a:pt x="3" y="405"/>
                  </a:lnTo>
                  <a:lnTo>
                    <a:pt x="7" y="422"/>
                  </a:lnTo>
                  <a:lnTo>
                    <a:pt x="12" y="437"/>
                  </a:lnTo>
                  <a:lnTo>
                    <a:pt x="20" y="452"/>
                  </a:lnTo>
                  <a:lnTo>
                    <a:pt x="28" y="466"/>
                  </a:lnTo>
                  <a:lnTo>
                    <a:pt x="38" y="478"/>
                  </a:lnTo>
                  <a:lnTo>
                    <a:pt x="48" y="491"/>
                  </a:lnTo>
                  <a:lnTo>
                    <a:pt x="61" y="502"/>
                  </a:lnTo>
                  <a:lnTo>
                    <a:pt x="74" y="511"/>
                  </a:lnTo>
                  <a:lnTo>
                    <a:pt x="88" y="520"/>
                  </a:lnTo>
                  <a:lnTo>
                    <a:pt x="102" y="527"/>
                  </a:lnTo>
                  <a:lnTo>
                    <a:pt x="117" y="532"/>
                  </a:lnTo>
                  <a:lnTo>
                    <a:pt x="134" y="537"/>
                  </a:lnTo>
                  <a:lnTo>
                    <a:pt x="150" y="539"/>
                  </a:lnTo>
                  <a:lnTo>
                    <a:pt x="168" y="540"/>
                  </a:lnTo>
                  <a:lnTo>
                    <a:pt x="185" y="539"/>
                  </a:lnTo>
                  <a:lnTo>
                    <a:pt x="201" y="537"/>
                  </a:lnTo>
                  <a:lnTo>
                    <a:pt x="218" y="532"/>
                  </a:lnTo>
                  <a:lnTo>
                    <a:pt x="233" y="527"/>
                  </a:lnTo>
                  <a:lnTo>
                    <a:pt x="248" y="520"/>
                  </a:lnTo>
                  <a:lnTo>
                    <a:pt x="261" y="511"/>
                  </a:lnTo>
                  <a:lnTo>
                    <a:pt x="274" y="502"/>
                  </a:lnTo>
                  <a:lnTo>
                    <a:pt x="287" y="491"/>
                  </a:lnTo>
                  <a:lnTo>
                    <a:pt x="297" y="478"/>
                  </a:lnTo>
                  <a:lnTo>
                    <a:pt x="307" y="466"/>
                  </a:lnTo>
                  <a:lnTo>
                    <a:pt x="315" y="452"/>
                  </a:lnTo>
                  <a:lnTo>
                    <a:pt x="323" y="437"/>
                  </a:lnTo>
                  <a:lnTo>
                    <a:pt x="328" y="422"/>
                  </a:lnTo>
                  <a:lnTo>
                    <a:pt x="332" y="405"/>
                  </a:lnTo>
                  <a:lnTo>
                    <a:pt x="334" y="390"/>
                  </a:lnTo>
                  <a:lnTo>
                    <a:pt x="335" y="371"/>
                  </a:lnTo>
                  <a:lnTo>
                    <a:pt x="334" y="355"/>
                  </a:lnTo>
                  <a:lnTo>
                    <a:pt x="332" y="338"/>
                  </a:lnTo>
                  <a:lnTo>
                    <a:pt x="328" y="322"/>
                  </a:lnTo>
                  <a:lnTo>
                    <a:pt x="323" y="307"/>
                  </a:lnTo>
                  <a:lnTo>
                    <a:pt x="315" y="292"/>
                  </a:lnTo>
                  <a:lnTo>
                    <a:pt x="307" y="278"/>
                  </a:lnTo>
                  <a:lnTo>
                    <a:pt x="297" y="265"/>
                  </a:lnTo>
                  <a:lnTo>
                    <a:pt x="287" y="253"/>
                  </a:lnTo>
                  <a:lnTo>
                    <a:pt x="274" y="242"/>
                  </a:lnTo>
                  <a:lnTo>
                    <a:pt x="261" y="233"/>
                  </a:lnTo>
                  <a:lnTo>
                    <a:pt x="248" y="224"/>
                  </a:lnTo>
                  <a:lnTo>
                    <a:pt x="233" y="217"/>
                  </a:lnTo>
                  <a:lnTo>
                    <a:pt x="218" y="212"/>
                  </a:lnTo>
                  <a:lnTo>
                    <a:pt x="201" y="207"/>
                  </a:lnTo>
                  <a:lnTo>
                    <a:pt x="185" y="204"/>
                  </a:lnTo>
                  <a:lnTo>
                    <a:pt x="168" y="204"/>
                  </a:lnTo>
                  <a:lnTo>
                    <a:pt x="153" y="204"/>
                  </a:lnTo>
                  <a:lnTo>
                    <a:pt x="140" y="206"/>
                  </a:lnTo>
                  <a:lnTo>
                    <a:pt x="126" y="209"/>
                  </a:lnTo>
                  <a:lnTo>
                    <a:pt x="112" y="213"/>
                  </a:lnTo>
                  <a:lnTo>
                    <a:pt x="99" y="218"/>
                  </a:lnTo>
                  <a:lnTo>
                    <a:pt x="88" y="224"/>
                  </a:lnTo>
                  <a:lnTo>
                    <a:pt x="76" y="232"/>
                  </a:lnTo>
                  <a:lnTo>
                    <a:pt x="64" y="239"/>
                  </a:lnTo>
                  <a:lnTo>
                    <a:pt x="73" y="214"/>
                  </a:lnTo>
                  <a:lnTo>
                    <a:pt x="83" y="191"/>
                  </a:lnTo>
                  <a:lnTo>
                    <a:pt x="94" y="170"/>
                  </a:lnTo>
                  <a:lnTo>
                    <a:pt x="107" y="150"/>
                  </a:lnTo>
                  <a:lnTo>
                    <a:pt x="119" y="133"/>
                  </a:lnTo>
                  <a:lnTo>
                    <a:pt x="134" y="117"/>
                  </a:lnTo>
                  <a:lnTo>
                    <a:pt x="150" y="104"/>
                  </a:lnTo>
                  <a:lnTo>
                    <a:pt x="166" y="91"/>
                  </a:lnTo>
                  <a:lnTo>
                    <a:pt x="183" y="80"/>
                  </a:lnTo>
                  <a:lnTo>
                    <a:pt x="200" y="72"/>
                  </a:lnTo>
                  <a:lnTo>
                    <a:pt x="218" y="64"/>
                  </a:lnTo>
                  <a:lnTo>
                    <a:pt x="237" y="58"/>
                  </a:lnTo>
                  <a:lnTo>
                    <a:pt x="255" y="54"/>
                  </a:lnTo>
                  <a:lnTo>
                    <a:pt x="274" y="51"/>
                  </a:lnTo>
                  <a:lnTo>
                    <a:pt x="293" y="49"/>
                  </a:lnTo>
                  <a:lnTo>
                    <a:pt x="312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9">
              <a:extLst>
                <a:ext uri="{FF2B5EF4-FFF2-40B4-BE49-F238E27FC236}">
                  <a16:creationId xmlns:a16="http://schemas.microsoft.com/office/drawing/2014/main" id="{6CE1D3D5-5ADE-4089-BF13-E4D2B7AA9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809625"/>
              <a:ext cx="133350" cy="214313"/>
            </a:xfrm>
            <a:custGeom>
              <a:avLst/>
              <a:gdLst>
                <a:gd name="T0" fmla="*/ 154 w 336"/>
                <a:gd name="T1" fmla="*/ 204 h 540"/>
                <a:gd name="T2" fmla="*/ 126 w 336"/>
                <a:gd name="T3" fmla="*/ 209 h 540"/>
                <a:gd name="T4" fmla="*/ 100 w 336"/>
                <a:gd name="T5" fmla="*/ 218 h 540"/>
                <a:gd name="T6" fmla="*/ 76 w 336"/>
                <a:gd name="T7" fmla="*/ 232 h 540"/>
                <a:gd name="T8" fmla="*/ 73 w 336"/>
                <a:gd name="T9" fmla="*/ 214 h 540"/>
                <a:gd name="T10" fmla="*/ 94 w 336"/>
                <a:gd name="T11" fmla="*/ 170 h 540"/>
                <a:gd name="T12" fmla="*/ 120 w 336"/>
                <a:gd name="T13" fmla="*/ 133 h 540"/>
                <a:gd name="T14" fmla="*/ 150 w 336"/>
                <a:gd name="T15" fmla="*/ 104 h 540"/>
                <a:gd name="T16" fmla="*/ 183 w 336"/>
                <a:gd name="T17" fmla="*/ 80 h 540"/>
                <a:gd name="T18" fmla="*/ 218 w 336"/>
                <a:gd name="T19" fmla="*/ 64 h 540"/>
                <a:gd name="T20" fmla="*/ 255 w 336"/>
                <a:gd name="T21" fmla="*/ 54 h 540"/>
                <a:gd name="T22" fmla="*/ 294 w 336"/>
                <a:gd name="T23" fmla="*/ 49 h 540"/>
                <a:gd name="T24" fmla="*/ 317 w 336"/>
                <a:gd name="T25" fmla="*/ 47 h 540"/>
                <a:gd name="T26" fmla="*/ 325 w 336"/>
                <a:gd name="T27" fmla="*/ 43 h 540"/>
                <a:gd name="T28" fmla="*/ 332 w 336"/>
                <a:gd name="T29" fmla="*/ 37 h 540"/>
                <a:gd name="T30" fmla="*/ 336 w 336"/>
                <a:gd name="T31" fmla="*/ 28 h 540"/>
                <a:gd name="T32" fmla="*/ 336 w 336"/>
                <a:gd name="T33" fmla="*/ 19 h 540"/>
                <a:gd name="T34" fmla="*/ 332 w 336"/>
                <a:gd name="T35" fmla="*/ 10 h 540"/>
                <a:gd name="T36" fmla="*/ 325 w 336"/>
                <a:gd name="T37" fmla="*/ 4 h 540"/>
                <a:gd name="T38" fmla="*/ 317 w 336"/>
                <a:gd name="T39" fmla="*/ 0 h 540"/>
                <a:gd name="T40" fmla="*/ 295 w 336"/>
                <a:gd name="T41" fmla="*/ 0 h 540"/>
                <a:gd name="T42" fmla="*/ 261 w 336"/>
                <a:gd name="T43" fmla="*/ 3 h 540"/>
                <a:gd name="T44" fmla="*/ 228 w 336"/>
                <a:gd name="T45" fmla="*/ 10 h 540"/>
                <a:gd name="T46" fmla="*/ 198 w 336"/>
                <a:gd name="T47" fmla="*/ 20 h 540"/>
                <a:gd name="T48" fmla="*/ 170 w 336"/>
                <a:gd name="T49" fmla="*/ 33 h 540"/>
                <a:gd name="T50" fmla="*/ 142 w 336"/>
                <a:gd name="T51" fmla="*/ 49 h 540"/>
                <a:gd name="T52" fmla="*/ 118 w 336"/>
                <a:gd name="T53" fmla="*/ 68 h 540"/>
                <a:gd name="T54" fmla="*/ 96 w 336"/>
                <a:gd name="T55" fmla="*/ 89 h 540"/>
                <a:gd name="T56" fmla="*/ 75 w 336"/>
                <a:gd name="T57" fmla="*/ 113 h 540"/>
                <a:gd name="T58" fmla="*/ 56 w 336"/>
                <a:gd name="T59" fmla="*/ 141 h 540"/>
                <a:gd name="T60" fmla="*/ 42 w 336"/>
                <a:gd name="T61" fmla="*/ 170 h 540"/>
                <a:gd name="T62" fmla="*/ 28 w 336"/>
                <a:gd name="T63" fmla="*/ 202 h 540"/>
                <a:gd name="T64" fmla="*/ 17 w 336"/>
                <a:gd name="T65" fmla="*/ 236 h 540"/>
                <a:gd name="T66" fmla="*/ 9 w 336"/>
                <a:gd name="T67" fmla="*/ 272 h 540"/>
                <a:gd name="T68" fmla="*/ 3 w 336"/>
                <a:gd name="T69" fmla="*/ 310 h 540"/>
                <a:gd name="T70" fmla="*/ 0 w 336"/>
                <a:gd name="T71" fmla="*/ 351 h 540"/>
                <a:gd name="T72" fmla="*/ 0 w 336"/>
                <a:gd name="T73" fmla="*/ 390 h 540"/>
                <a:gd name="T74" fmla="*/ 8 w 336"/>
                <a:gd name="T75" fmla="*/ 422 h 540"/>
                <a:gd name="T76" fmla="*/ 20 w 336"/>
                <a:gd name="T77" fmla="*/ 452 h 540"/>
                <a:gd name="T78" fmla="*/ 38 w 336"/>
                <a:gd name="T79" fmla="*/ 478 h 540"/>
                <a:gd name="T80" fmla="*/ 61 w 336"/>
                <a:gd name="T81" fmla="*/ 502 h 540"/>
                <a:gd name="T82" fmla="*/ 88 w 336"/>
                <a:gd name="T83" fmla="*/ 520 h 540"/>
                <a:gd name="T84" fmla="*/ 118 w 336"/>
                <a:gd name="T85" fmla="*/ 532 h 540"/>
                <a:gd name="T86" fmla="*/ 151 w 336"/>
                <a:gd name="T87" fmla="*/ 539 h 540"/>
                <a:gd name="T88" fmla="*/ 186 w 336"/>
                <a:gd name="T89" fmla="*/ 539 h 540"/>
                <a:gd name="T90" fmla="*/ 218 w 336"/>
                <a:gd name="T91" fmla="*/ 532 h 540"/>
                <a:gd name="T92" fmla="*/ 248 w 336"/>
                <a:gd name="T93" fmla="*/ 520 h 540"/>
                <a:gd name="T94" fmla="*/ 275 w 336"/>
                <a:gd name="T95" fmla="*/ 502 h 540"/>
                <a:gd name="T96" fmla="*/ 298 w 336"/>
                <a:gd name="T97" fmla="*/ 478 h 540"/>
                <a:gd name="T98" fmla="*/ 316 w 336"/>
                <a:gd name="T99" fmla="*/ 452 h 540"/>
                <a:gd name="T100" fmla="*/ 329 w 336"/>
                <a:gd name="T101" fmla="*/ 422 h 540"/>
                <a:gd name="T102" fmla="*/ 335 w 336"/>
                <a:gd name="T103" fmla="*/ 390 h 540"/>
                <a:gd name="T104" fmla="*/ 335 w 336"/>
                <a:gd name="T105" fmla="*/ 355 h 540"/>
                <a:gd name="T106" fmla="*/ 329 w 336"/>
                <a:gd name="T107" fmla="*/ 322 h 540"/>
                <a:gd name="T108" fmla="*/ 316 w 336"/>
                <a:gd name="T109" fmla="*/ 292 h 540"/>
                <a:gd name="T110" fmla="*/ 298 w 336"/>
                <a:gd name="T111" fmla="*/ 265 h 540"/>
                <a:gd name="T112" fmla="*/ 275 w 336"/>
                <a:gd name="T113" fmla="*/ 242 h 540"/>
                <a:gd name="T114" fmla="*/ 248 w 336"/>
                <a:gd name="T115" fmla="*/ 224 h 540"/>
                <a:gd name="T116" fmla="*/ 218 w 336"/>
                <a:gd name="T117" fmla="*/ 212 h 540"/>
                <a:gd name="T118" fmla="*/ 186 w 336"/>
                <a:gd name="T119" fmla="*/ 20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" h="540">
                  <a:moveTo>
                    <a:pt x="168" y="204"/>
                  </a:moveTo>
                  <a:lnTo>
                    <a:pt x="154" y="204"/>
                  </a:lnTo>
                  <a:lnTo>
                    <a:pt x="140" y="206"/>
                  </a:lnTo>
                  <a:lnTo>
                    <a:pt x="126" y="209"/>
                  </a:lnTo>
                  <a:lnTo>
                    <a:pt x="112" y="213"/>
                  </a:lnTo>
                  <a:lnTo>
                    <a:pt x="100" y="218"/>
                  </a:lnTo>
                  <a:lnTo>
                    <a:pt x="88" y="224"/>
                  </a:lnTo>
                  <a:lnTo>
                    <a:pt x="76" y="232"/>
                  </a:lnTo>
                  <a:lnTo>
                    <a:pt x="65" y="239"/>
                  </a:lnTo>
                  <a:lnTo>
                    <a:pt x="73" y="214"/>
                  </a:lnTo>
                  <a:lnTo>
                    <a:pt x="83" y="191"/>
                  </a:lnTo>
                  <a:lnTo>
                    <a:pt x="94" y="170"/>
                  </a:lnTo>
                  <a:lnTo>
                    <a:pt x="107" y="150"/>
                  </a:lnTo>
                  <a:lnTo>
                    <a:pt x="120" y="133"/>
                  </a:lnTo>
                  <a:lnTo>
                    <a:pt x="135" y="117"/>
                  </a:lnTo>
                  <a:lnTo>
                    <a:pt x="150" y="104"/>
                  </a:lnTo>
                  <a:lnTo>
                    <a:pt x="167" y="91"/>
                  </a:lnTo>
                  <a:lnTo>
                    <a:pt x="183" y="80"/>
                  </a:lnTo>
                  <a:lnTo>
                    <a:pt x="200" y="72"/>
                  </a:lnTo>
                  <a:lnTo>
                    <a:pt x="218" y="64"/>
                  </a:lnTo>
                  <a:lnTo>
                    <a:pt x="236" y="58"/>
                  </a:lnTo>
                  <a:lnTo>
                    <a:pt x="255" y="54"/>
                  </a:lnTo>
                  <a:lnTo>
                    <a:pt x="275" y="51"/>
                  </a:lnTo>
                  <a:lnTo>
                    <a:pt x="294" y="49"/>
                  </a:lnTo>
                  <a:lnTo>
                    <a:pt x="313" y="47"/>
                  </a:lnTo>
                  <a:lnTo>
                    <a:pt x="317" y="47"/>
                  </a:lnTo>
                  <a:lnTo>
                    <a:pt x="321" y="45"/>
                  </a:lnTo>
                  <a:lnTo>
                    <a:pt x="325" y="43"/>
                  </a:lnTo>
                  <a:lnTo>
                    <a:pt x="330" y="41"/>
                  </a:lnTo>
                  <a:lnTo>
                    <a:pt x="332" y="37"/>
                  </a:lnTo>
                  <a:lnTo>
                    <a:pt x="334" y="33"/>
                  </a:lnTo>
                  <a:lnTo>
                    <a:pt x="336" y="28"/>
                  </a:lnTo>
                  <a:lnTo>
                    <a:pt x="336" y="24"/>
                  </a:lnTo>
                  <a:lnTo>
                    <a:pt x="336" y="19"/>
                  </a:lnTo>
                  <a:lnTo>
                    <a:pt x="334" y="15"/>
                  </a:lnTo>
                  <a:lnTo>
                    <a:pt x="332" y="10"/>
                  </a:lnTo>
                  <a:lnTo>
                    <a:pt x="330" y="6"/>
                  </a:lnTo>
                  <a:lnTo>
                    <a:pt x="325" y="4"/>
                  </a:lnTo>
                  <a:lnTo>
                    <a:pt x="321" y="2"/>
                  </a:lnTo>
                  <a:lnTo>
                    <a:pt x="317" y="0"/>
                  </a:lnTo>
                  <a:lnTo>
                    <a:pt x="313" y="0"/>
                  </a:lnTo>
                  <a:lnTo>
                    <a:pt x="295" y="0"/>
                  </a:lnTo>
                  <a:lnTo>
                    <a:pt x="278" y="1"/>
                  </a:lnTo>
                  <a:lnTo>
                    <a:pt x="261" y="3"/>
                  </a:lnTo>
                  <a:lnTo>
                    <a:pt x="244" y="6"/>
                  </a:lnTo>
                  <a:lnTo>
                    <a:pt x="228" y="10"/>
                  </a:lnTo>
                  <a:lnTo>
                    <a:pt x="213" y="15"/>
                  </a:lnTo>
                  <a:lnTo>
                    <a:pt x="198" y="20"/>
                  </a:lnTo>
                  <a:lnTo>
                    <a:pt x="183" y="26"/>
                  </a:lnTo>
                  <a:lnTo>
                    <a:pt x="170" y="33"/>
                  </a:lnTo>
                  <a:lnTo>
                    <a:pt x="156" y="40"/>
                  </a:lnTo>
                  <a:lnTo>
                    <a:pt x="142" y="49"/>
                  </a:lnTo>
                  <a:lnTo>
                    <a:pt x="131" y="58"/>
                  </a:lnTo>
                  <a:lnTo>
                    <a:pt x="118" y="68"/>
                  </a:lnTo>
                  <a:lnTo>
                    <a:pt x="106" y="78"/>
                  </a:lnTo>
                  <a:lnTo>
                    <a:pt x="96" y="89"/>
                  </a:lnTo>
                  <a:lnTo>
                    <a:pt x="85" y="101"/>
                  </a:lnTo>
                  <a:lnTo>
                    <a:pt x="75" y="113"/>
                  </a:lnTo>
                  <a:lnTo>
                    <a:pt x="66" y="127"/>
                  </a:lnTo>
                  <a:lnTo>
                    <a:pt x="56" y="141"/>
                  </a:lnTo>
                  <a:lnTo>
                    <a:pt x="49" y="154"/>
                  </a:lnTo>
                  <a:lnTo>
                    <a:pt x="42" y="170"/>
                  </a:lnTo>
                  <a:lnTo>
                    <a:pt x="34" y="185"/>
                  </a:lnTo>
                  <a:lnTo>
                    <a:pt x="28" y="202"/>
                  </a:lnTo>
                  <a:lnTo>
                    <a:pt x="22" y="218"/>
                  </a:lnTo>
                  <a:lnTo>
                    <a:pt x="17" y="236"/>
                  </a:lnTo>
                  <a:lnTo>
                    <a:pt x="13" y="254"/>
                  </a:lnTo>
                  <a:lnTo>
                    <a:pt x="9" y="272"/>
                  </a:lnTo>
                  <a:lnTo>
                    <a:pt x="6" y="291"/>
                  </a:lnTo>
                  <a:lnTo>
                    <a:pt x="3" y="310"/>
                  </a:lnTo>
                  <a:lnTo>
                    <a:pt x="1" y="330"/>
                  </a:lnTo>
                  <a:lnTo>
                    <a:pt x="0" y="351"/>
                  </a:lnTo>
                  <a:lnTo>
                    <a:pt x="0" y="371"/>
                  </a:lnTo>
                  <a:lnTo>
                    <a:pt x="0" y="390"/>
                  </a:lnTo>
                  <a:lnTo>
                    <a:pt x="3" y="405"/>
                  </a:lnTo>
                  <a:lnTo>
                    <a:pt x="8" y="422"/>
                  </a:lnTo>
                  <a:lnTo>
                    <a:pt x="13" y="437"/>
                  </a:lnTo>
                  <a:lnTo>
                    <a:pt x="20" y="452"/>
                  </a:lnTo>
                  <a:lnTo>
                    <a:pt x="29" y="466"/>
                  </a:lnTo>
                  <a:lnTo>
                    <a:pt x="38" y="478"/>
                  </a:lnTo>
                  <a:lnTo>
                    <a:pt x="49" y="491"/>
                  </a:lnTo>
                  <a:lnTo>
                    <a:pt x="61" y="502"/>
                  </a:lnTo>
                  <a:lnTo>
                    <a:pt x="74" y="511"/>
                  </a:lnTo>
                  <a:lnTo>
                    <a:pt x="88" y="520"/>
                  </a:lnTo>
                  <a:lnTo>
                    <a:pt x="103" y="527"/>
                  </a:lnTo>
                  <a:lnTo>
                    <a:pt x="118" y="532"/>
                  </a:lnTo>
                  <a:lnTo>
                    <a:pt x="134" y="537"/>
                  </a:lnTo>
                  <a:lnTo>
                    <a:pt x="151" y="539"/>
                  </a:lnTo>
                  <a:lnTo>
                    <a:pt x="168" y="540"/>
                  </a:lnTo>
                  <a:lnTo>
                    <a:pt x="186" y="539"/>
                  </a:lnTo>
                  <a:lnTo>
                    <a:pt x="201" y="537"/>
                  </a:lnTo>
                  <a:lnTo>
                    <a:pt x="218" y="532"/>
                  </a:lnTo>
                  <a:lnTo>
                    <a:pt x="233" y="527"/>
                  </a:lnTo>
                  <a:lnTo>
                    <a:pt x="248" y="520"/>
                  </a:lnTo>
                  <a:lnTo>
                    <a:pt x="262" y="511"/>
                  </a:lnTo>
                  <a:lnTo>
                    <a:pt x="275" y="502"/>
                  </a:lnTo>
                  <a:lnTo>
                    <a:pt x="287" y="491"/>
                  </a:lnTo>
                  <a:lnTo>
                    <a:pt x="298" y="478"/>
                  </a:lnTo>
                  <a:lnTo>
                    <a:pt x="307" y="466"/>
                  </a:lnTo>
                  <a:lnTo>
                    <a:pt x="316" y="452"/>
                  </a:lnTo>
                  <a:lnTo>
                    <a:pt x="323" y="437"/>
                  </a:lnTo>
                  <a:lnTo>
                    <a:pt x="329" y="422"/>
                  </a:lnTo>
                  <a:lnTo>
                    <a:pt x="333" y="405"/>
                  </a:lnTo>
                  <a:lnTo>
                    <a:pt x="335" y="390"/>
                  </a:lnTo>
                  <a:lnTo>
                    <a:pt x="336" y="371"/>
                  </a:lnTo>
                  <a:lnTo>
                    <a:pt x="335" y="355"/>
                  </a:lnTo>
                  <a:lnTo>
                    <a:pt x="333" y="338"/>
                  </a:lnTo>
                  <a:lnTo>
                    <a:pt x="329" y="322"/>
                  </a:lnTo>
                  <a:lnTo>
                    <a:pt x="323" y="307"/>
                  </a:lnTo>
                  <a:lnTo>
                    <a:pt x="316" y="292"/>
                  </a:lnTo>
                  <a:lnTo>
                    <a:pt x="307" y="278"/>
                  </a:lnTo>
                  <a:lnTo>
                    <a:pt x="298" y="265"/>
                  </a:lnTo>
                  <a:lnTo>
                    <a:pt x="287" y="253"/>
                  </a:lnTo>
                  <a:lnTo>
                    <a:pt x="275" y="242"/>
                  </a:lnTo>
                  <a:lnTo>
                    <a:pt x="262" y="233"/>
                  </a:lnTo>
                  <a:lnTo>
                    <a:pt x="248" y="224"/>
                  </a:lnTo>
                  <a:lnTo>
                    <a:pt x="233" y="217"/>
                  </a:lnTo>
                  <a:lnTo>
                    <a:pt x="218" y="212"/>
                  </a:lnTo>
                  <a:lnTo>
                    <a:pt x="201" y="207"/>
                  </a:lnTo>
                  <a:lnTo>
                    <a:pt x="186" y="204"/>
                  </a:lnTo>
                  <a:lnTo>
                    <a:pt x="168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0F594D09-AFE8-4217-B60A-FD44AED122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3601419"/>
              </p:ext>
            </p:extLst>
          </p:nvPr>
        </p:nvGraphicFramePr>
        <p:xfrm>
          <a:off x="6583888" y="1336094"/>
          <a:ext cx="5110774" cy="4556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A7BD379A-7CC6-44F9-A78B-577D4BC787AC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Date Placeholder 2">
            <a:extLst>
              <a:ext uri="{FF2B5EF4-FFF2-40B4-BE49-F238E27FC236}">
                <a16:creationId xmlns:a16="http://schemas.microsoft.com/office/drawing/2014/main" id="{15F67601-99FD-40B1-A0A7-019F83D0D9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/>
          </a:p>
        </p:txBody>
      </p:sp>
      <p:sp>
        <p:nvSpPr>
          <p:cNvPr id="69" name="Slide Number Placeholder 3">
            <a:extLst>
              <a:ext uri="{FF2B5EF4-FFF2-40B4-BE49-F238E27FC236}">
                <a16:creationId xmlns:a16="http://schemas.microsoft.com/office/drawing/2014/main" id="{5BA5922D-DC4F-4B44-A465-8BFAD710F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4A7955-6230-48B4-BD8B-A7C460F7594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305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8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1668D5A2-EF9D-4989-B9DD-E4070CBD9C20}"/>
              </a:ext>
            </a:extLst>
          </p:cNvPr>
          <p:cNvSpPr>
            <a:spLocks/>
          </p:cNvSpPr>
          <p:nvPr/>
        </p:nvSpPr>
        <p:spPr bwMode="auto">
          <a:xfrm>
            <a:off x="430155" y="1355605"/>
            <a:ext cx="6228420" cy="4461503"/>
          </a:xfrm>
          <a:custGeom>
            <a:avLst/>
            <a:gdLst>
              <a:gd name="T0" fmla="*/ 406 w 2747"/>
              <a:gd name="T1" fmla="*/ 1820 h 1968"/>
              <a:gd name="T2" fmla="*/ 679 w 2747"/>
              <a:gd name="T3" fmla="*/ 1968 h 1968"/>
              <a:gd name="T4" fmla="*/ 852 w 2747"/>
              <a:gd name="T5" fmla="*/ 1919 h 1968"/>
              <a:gd name="T6" fmla="*/ 971 w 2747"/>
              <a:gd name="T7" fmla="*/ 1941 h 1968"/>
              <a:gd name="T8" fmla="*/ 1245 w 2747"/>
              <a:gd name="T9" fmla="*/ 1792 h 1968"/>
              <a:gd name="T10" fmla="*/ 1251 w 2747"/>
              <a:gd name="T11" fmla="*/ 1792 h 1968"/>
              <a:gd name="T12" fmla="*/ 1571 w 2747"/>
              <a:gd name="T13" fmla="*/ 1530 h 1968"/>
              <a:gd name="T14" fmla="*/ 1692 w 2747"/>
              <a:gd name="T15" fmla="*/ 1554 h 1968"/>
              <a:gd name="T16" fmla="*/ 1994 w 2747"/>
              <a:gd name="T17" fmla="*/ 1351 h 1968"/>
              <a:gd name="T18" fmla="*/ 2160 w 2747"/>
              <a:gd name="T19" fmla="*/ 1397 h 1968"/>
              <a:gd name="T20" fmla="*/ 2456 w 2747"/>
              <a:gd name="T21" fmla="*/ 1207 h 1968"/>
              <a:gd name="T22" fmla="*/ 2747 w 2747"/>
              <a:gd name="T23" fmla="*/ 882 h 1968"/>
              <a:gd name="T24" fmla="*/ 2505 w 2747"/>
              <a:gd name="T25" fmla="*/ 567 h 1968"/>
              <a:gd name="T26" fmla="*/ 2114 w 2747"/>
              <a:gd name="T27" fmla="*/ 230 h 1968"/>
              <a:gd name="T28" fmla="*/ 2036 w 2747"/>
              <a:gd name="T29" fmla="*/ 238 h 1968"/>
              <a:gd name="T30" fmla="*/ 1884 w 2747"/>
              <a:gd name="T31" fmla="*/ 138 h 1968"/>
              <a:gd name="T32" fmla="*/ 1831 w 2747"/>
              <a:gd name="T33" fmla="*/ 147 h 1968"/>
              <a:gd name="T34" fmla="*/ 1523 w 2747"/>
              <a:gd name="T35" fmla="*/ 0 h 1968"/>
              <a:gd name="T36" fmla="*/ 1196 w 2747"/>
              <a:gd name="T37" fmla="*/ 174 h 1968"/>
              <a:gd name="T38" fmla="*/ 956 w 2747"/>
              <a:gd name="T39" fmla="*/ 92 h 1968"/>
              <a:gd name="T40" fmla="*/ 593 w 2747"/>
              <a:gd name="T41" fmla="*/ 330 h 1968"/>
              <a:gd name="T42" fmla="*/ 576 w 2747"/>
              <a:gd name="T43" fmla="*/ 330 h 1968"/>
              <a:gd name="T44" fmla="*/ 181 w 2747"/>
              <a:gd name="T45" fmla="*/ 725 h 1968"/>
              <a:gd name="T46" fmla="*/ 186 w 2747"/>
              <a:gd name="T47" fmla="*/ 789 h 1968"/>
              <a:gd name="T48" fmla="*/ 77 w 2747"/>
              <a:gd name="T49" fmla="*/ 944 h 1968"/>
              <a:gd name="T50" fmla="*/ 126 w 2747"/>
              <a:gd name="T51" fmla="*/ 1062 h 1968"/>
              <a:gd name="T52" fmla="*/ 0 w 2747"/>
              <a:gd name="T53" fmla="*/ 1374 h 1968"/>
              <a:gd name="T54" fmla="*/ 406 w 2747"/>
              <a:gd name="T55" fmla="*/ 1820 h 1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747" h="1968">
                <a:moveTo>
                  <a:pt x="406" y="1820"/>
                </a:moveTo>
                <a:cubicBezTo>
                  <a:pt x="465" y="1909"/>
                  <a:pt x="565" y="1968"/>
                  <a:pt x="679" y="1968"/>
                </a:cubicBezTo>
                <a:cubicBezTo>
                  <a:pt x="743" y="1968"/>
                  <a:pt x="802" y="1950"/>
                  <a:pt x="852" y="1919"/>
                </a:cubicBezTo>
                <a:cubicBezTo>
                  <a:pt x="889" y="1933"/>
                  <a:pt x="929" y="1941"/>
                  <a:pt x="971" y="1941"/>
                </a:cubicBezTo>
                <a:cubicBezTo>
                  <a:pt x="1086" y="1941"/>
                  <a:pt x="1187" y="1882"/>
                  <a:pt x="1245" y="1792"/>
                </a:cubicBezTo>
                <a:cubicBezTo>
                  <a:pt x="1247" y="1792"/>
                  <a:pt x="1249" y="1792"/>
                  <a:pt x="1251" y="1792"/>
                </a:cubicBezTo>
                <a:cubicBezTo>
                  <a:pt x="1409" y="1792"/>
                  <a:pt x="1541" y="1679"/>
                  <a:pt x="1571" y="1530"/>
                </a:cubicBezTo>
                <a:cubicBezTo>
                  <a:pt x="1608" y="1545"/>
                  <a:pt x="1649" y="1554"/>
                  <a:pt x="1692" y="1554"/>
                </a:cubicBezTo>
                <a:cubicBezTo>
                  <a:pt x="1829" y="1554"/>
                  <a:pt x="1945" y="1470"/>
                  <a:pt x="1994" y="1351"/>
                </a:cubicBezTo>
                <a:cubicBezTo>
                  <a:pt x="2043" y="1380"/>
                  <a:pt x="2099" y="1397"/>
                  <a:pt x="2160" y="1397"/>
                </a:cubicBezTo>
                <a:cubicBezTo>
                  <a:pt x="2292" y="1397"/>
                  <a:pt x="2405" y="1319"/>
                  <a:pt x="2456" y="1207"/>
                </a:cubicBezTo>
                <a:cubicBezTo>
                  <a:pt x="2620" y="1189"/>
                  <a:pt x="2747" y="1051"/>
                  <a:pt x="2747" y="882"/>
                </a:cubicBezTo>
                <a:cubicBezTo>
                  <a:pt x="2747" y="731"/>
                  <a:pt x="2644" y="604"/>
                  <a:pt x="2505" y="567"/>
                </a:cubicBezTo>
                <a:cubicBezTo>
                  <a:pt x="2477" y="377"/>
                  <a:pt x="2313" y="230"/>
                  <a:pt x="2114" y="230"/>
                </a:cubicBezTo>
                <a:cubicBezTo>
                  <a:pt x="2087" y="230"/>
                  <a:pt x="2061" y="233"/>
                  <a:pt x="2036" y="238"/>
                </a:cubicBezTo>
                <a:cubicBezTo>
                  <a:pt x="2010" y="179"/>
                  <a:pt x="1952" y="138"/>
                  <a:pt x="1884" y="138"/>
                </a:cubicBezTo>
                <a:cubicBezTo>
                  <a:pt x="1865" y="138"/>
                  <a:pt x="1847" y="141"/>
                  <a:pt x="1831" y="147"/>
                </a:cubicBezTo>
                <a:cubicBezTo>
                  <a:pt x="1758" y="57"/>
                  <a:pt x="1648" y="0"/>
                  <a:pt x="1523" y="0"/>
                </a:cubicBezTo>
                <a:cubicBezTo>
                  <a:pt x="1387" y="0"/>
                  <a:pt x="1267" y="69"/>
                  <a:pt x="1196" y="174"/>
                </a:cubicBezTo>
                <a:cubicBezTo>
                  <a:pt x="1129" y="123"/>
                  <a:pt x="1046" y="92"/>
                  <a:pt x="956" y="92"/>
                </a:cubicBezTo>
                <a:cubicBezTo>
                  <a:pt x="793" y="92"/>
                  <a:pt x="653" y="190"/>
                  <a:pt x="593" y="330"/>
                </a:cubicBezTo>
                <a:cubicBezTo>
                  <a:pt x="587" y="330"/>
                  <a:pt x="581" y="330"/>
                  <a:pt x="576" y="330"/>
                </a:cubicBezTo>
                <a:cubicBezTo>
                  <a:pt x="357" y="330"/>
                  <a:pt x="181" y="507"/>
                  <a:pt x="181" y="725"/>
                </a:cubicBezTo>
                <a:cubicBezTo>
                  <a:pt x="181" y="747"/>
                  <a:pt x="182" y="768"/>
                  <a:pt x="186" y="789"/>
                </a:cubicBezTo>
                <a:cubicBezTo>
                  <a:pt x="122" y="812"/>
                  <a:pt x="77" y="873"/>
                  <a:pt x="77" y="944"/>
                </a:cubicBezTo>
                <a:cubicBezTo>
                  <a:pt x="77" y="990"/>
                  <a:pt x="96" y="1032"/>
                  <a:pt x="126" y="1062"/>
                </a:cubicBezTo>
                <a:cubicBezTo>
                  <a:pt x="48" y="1142"/>
                  <a:pt x="0" y="1252"/>
                  <a:pt x="0" y="1374"/>
                </a:cubicBezTo>
                <a:cubicBezTo>
                  <a:pt x="0" y="1607"/>
                  <a:pt x="178" y="1799"/>
                  <a:pt x="406" y="1820"/>
                </a:cubicBezTo>
                <a:close/>
              </a:path>
            </a:pathLst>
          </a:custGeom>
          <a:noFill/>
          <a:ln w="57150" cap="flat">
            <a:solidFill>
              <a:schemeClr val="bg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AA56DDC-977E-48C4-97DF-733FCBEDCD3E}"/>
              </a:ext>
            </a:extLst>
          </p:cNvPr>
          <p:cNvGrpSpPr/>
          <p:nvPr/>
        </p:nvGrpSpPr>
        <p:grpSpPr>
          <a:xfrm>
            <a:off x="4317252" y="3300299"/>
            <a:ext cx="540417" cy="541926"/>
            <a:chOff x="5132388" y="3533775"/>
            <a:chExt cx="568325" cy="569912"/>
          </a:xfrm>
          <a:solidFill>
            <a:srgbClr val="DADFE1"/>
          </a:solidFill>
          <a:effectLst/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F86CBBE3-4C5F-426D-B19E-CDF49A22F6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2388" y="3533775"/>
              <a:ext cx="568325" cy="569912"/>
            </a:xfrm>
            <a:custGeom>
              <a:avLst/>
              <a:gdLst>
                <a:gd name="T0" fmla="*/ 85 w 254"/>
                <a:gd name="T1" fmla="*/ 215 h 254"/>
                <a:gd name="T2" fmla="*/ 90 w 254"/>
                <a:gd name="T3" fmla="*/ 249 h 254"/>
                <a:gd name="T4" fmla="*/ 119 w 254"/>
                <a:gd name="T5" fmla="*/ 254 h 254"/>
                <a:gd name="T6" fmla="*/ 135 w 254"/>
                <a:gd name="T7" fmla="*/ 224 h 254"/>
                <a:gd name="T8" fmla="*/ 160 w 254"/>
                <a:gd name="T9" fmla="*/ 219 h 254"/>
                <a:gd name="T10" fmla="*/ 187 w 254"/>
                <a:gd name="T11" fmla="*/ 239 h 254"/>
                <a:gd name="T12" fmla="*/ 212 w 254"/>
                <a:gd name="T13" fmla="*/ 222 h 254"/>
                <a:gd name="T14" fmla="*/ 202 w 254"/>
                <a:gd name="T15" fmla="*/ 189 h 254"/>
                <a:gd name="T16" fmla="*/ 215 w 254"/>
                <a:gd name="T17" fmla="*/ 169 h 254"/>
                <a:gd name="T18" fmla="*/ 249 w 254"/>
                <a:gd name="T19" fmla="*/ 164 h 254"/>
                <a:gd name="T20" fmla="*/ 254 w 254"/>
                <a:gd name="T21" fmla="*/ 134 h 254"/>
                <a:gd name="T22" fmla="*/ 224 w 254"/>
                <a:gd name="T23" fmla="*/ 118 h 254"/>
                <a:gd name="T24" fmla="*/ 218 w 254"/>
                <a:gd name="T25" fmla="*/ 95 h 254"/>
                <a:gd name="T26" fmla="*/ 239 w 254"/>
                <a:gd name="T27" fmla="*/ 67 h 254"/>
                <a:gd name="T28" fmla="*/ 222 w 254"/>
                <a:gd name="T29" fmla="*/ 43 h 254"/>
                <a:gd name="T30" fmla="*/ 189 w 254"/>
                <a:gd name="T31" fmla="*/ 53 h 254"/>
                <a:gd name="T32" fmla="*/ 169 w 254"/>
                <a:gd name="T33" fmla="*/ 40 h 254"/>
                <a:gd name="T34" fmla="*/ 164 w 254"/>
                <a:gd name="T35" fmla="*/ 6 h 254"/>
                <a:gd name="T36" fmla="*/ 134 w 254"/>
                <a:gd name="T37" fmla="*/ 0 h 254"/>
                <a:gd name="T38" fmla="*/ 119 w 254"/>
                <a:gd name="T39" fmla="*/ 31 h 254"/>
                <a:gd name="T40" fmla="*/ 94 w 254"/>
                <a:gd name="T41" fmla="*/ 36 h 254"/>
                <a:gd name="T42" fmla="*/ 67 w 254"/>
                <a:gd name="T43" fmla="*/ 15 h 254"/>
                <a:gd name="T44" fmla="*/ 42 w 254"/>
                <a:gd name="T45" fmla="*/ 33 h 254"/>
                <a:gd name="T46" fmla="*/ 52 w 254"/>
                <a:gd name="T47" fmla="*/ 65 h 254"/>
                <a:gd name="T48" fmla="*/ 39 w 254"/>
                <a:gd name="T49" fmla="*/ 86 h 254"/>
                <a:gd name="T50" fmla="*/ 6 w 254"/>
                <a:gd name="T51" fmla="*/ 91 h 254"/>
                <a:gd name="T52" fmla="*/ 0 w 254"/>
                <a:gd name="T53" fmla="*/ 121 h 254"/>
                <a:gd name="T54" fmla="*/ 30 w 254"/>
                <a:gd name="T55" fmla="*/ 136 h 254"/>
                <a:gd name="T56" fmla="*/ 35 w 254"/>
                <a:gd name="T57" fmla="*/ 160 h 254"/>
                <a:gd name="T58" fmla="*/ 15 w 254"/>
                <a:gd name="T59" fmla="*/ 187 h 254"/>
                <a:gd name="T60" fmla="*/ 32 w 254"/>
                <a:gd name="T61" fmla="*/ 212 h 254"/>
                <a:gd name="T62" fmla="*/ 64 w 254"/>
                <a:gd name="T63" fmla="*/ 201 h 254"/>
                <a:gd name="T64" fmla="*/ 85 w 254"/>
                <a:gd name="T65" fmla="*/ 215 h 254"/>
                <a:gd name="T66" fmla="*/ 93 w 254"/>
                <a:gd name="T67" fmla="*/ 160 h 254"/>
                <a:gd name="T68" fmla="*/ 79 w 254"/>
                <a:gd name="T69" fmla="*/ 126 h 254"/>
                <a:gd name="T70" fmla="*/ 81 w 254"/>
                <a:gd name="T71" fmla="*/ 115 h 254"/>
                <a:gd name="T72" fmla="*/ 128 w 254"/>
                <a:gd name="T73" fmla="*/ 79 h 254"/>
                <a:gd name="T74" fmla="*/ 175 w 254"/>
                <a:gd name="T75" fmla="*/ 128 h 254"/>
                <a:gd name="T76" fmla="*/ 173 w 254"/>
                <a:gd name="T77" fmla="*/ 140 h 254"/>
                <a:gd name="T78" fmla="*/ 173 w 254"/>
                <a:gd name="T79" fmla="*/ 140 h 254"/>
                <a:gd name="T80" fmla="*/ 126 w 254"/>
                <a:gd name="T81" fmla="*/ 175 h 254"/>
                <a:gd name="T82" fmla="*/ 93 w 254"/>
                <a:gd name="T83" fmla="*/ 16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4">
                  <a:moveTo>
                    <a:pt x="85" y="215"/>
                  </a:moveTo>
                  <a:cubicBezTo>
                    <a:pt x="90" y="249"/>
                    <a:pt x="90" y="249"/>
                    <a:pt x="90" y="249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35" y="224"/>
                    <a:pt x="135" y="224"/>
                    <a:pt x="135" y="224"/>
                  </a:cubicBezTo>
                  <a:cubicBezTo>
                    <a:pt x="144" y="223"/>
                    <a:pt x="152" y="221"/>
                    <a:pt x="160" y="219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2"/>
                    <a:pt x="212" y="222"/>
                    <a:pt x="212" y="222"/>
                  </a:cubicBezTo>
                  <a:cubicBezTo>
                    <a:pt x="202" y="189"/>
                    <a:pt x="202" y="189"/>
                    <a:pt x="202" y="189"/>
                  </a:cubicBezTo>
                  <a:cubicBezTo>
                    <a:pt x="207" y="183"/>
                    <a:pt x="211" y="176"/>
                    <a:pt x="215" y="169"/>
                  </a:cubicBezTo>
                  <a:cubicBezTo>
                    <a:pt x="249" y="164"/>
                    <a:pt x="249" y="164"/>
                    <a:pt x="249" y="164"/>
                  </a:cubicBezTo>
                  <a:cubicBezTo>
                    <a:pt x="254" y="134"/>
                    <a:pt x="254" y="134"/>
                    <a:pt x="254" y="134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3" y="110"/>
                    <a:pt x="221" y="102"/>
                    <a:pt x="218" y="95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2" y="43"/>
                    <a:pt x="222" y="43"/>
                    <a:pt x="222" y="4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83" y="48"/>
                    <a:pt x="176" y="43"/>
                    <a:pt x="169" y="40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0" y="31"/>
                    <a:pt x="102" y="33"/>
                    <a:pt x="94" y="36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47" y="72"/>
                    <a:pt x="43" y="79"/>
                    <a:pt x="39" y="86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44"/>
                    <a:pt x="33" y="152"/>
                    <a:pt x="35" y="160"/>
                  </a:cubicBezTo>
                  <a:cubicBezTo>
                    <a:pt x="15" y="187"/>
                    <a:pt x="15" y="187"/>
                    <a:pt x="15" y="187"/>
                  </a:cubicBezTo>
                  <a:cubicBezTo>
                    <a:pt x="32" y="212"/>
                    <a:pt x="32" y="212"/>
                    <a:pt x="32" y="212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1" y="207"/>
                    <a:pt x="78" y="211"/>
                    <a:pt x="85" y="215"/>
                  </a:cubicBezTo>
                  <a:close/>
                  <a:moveTo>
                    <a:pt x="93" y="160"/>
                  </a:moveTo>
                  <a:cubicBezTo>
                    <a:pt x="84" y="151"/>
                    <a:pt x="79" y="139"/>
                    <a:pt x="79" y="126"/>
                  </a:cubicBezTo>
                  <a:cubicBezTo>
                    <a:pt x="79" y="122"/>
                    <a:pt x="80" y="118"/>
                    <a:pt x="81" y="115"/>
                  </a:cubicBezTo>
                  <a:cubicBezTo>
                    <a:pt x="87" y="93"/>
                    <a:pt x="106" y="79"/>
                    <a:pt x="128" y="79"/>
                  </a:cubicBezTo>
                  <a:cubicBezTo>
                    <a:pt x="154" y="80"/>
                    <a:pt x="175" y="102"/>
                    <a:pt x="175" y="128"/>
                  </a:cubicBezTo>
                  <a:cubicBezTo>
                    <a:pt x="175" y="132"/>
                    <a:pt x="173" y="136"/>
                    <a:pt x="173" y="140"/>
                  </a:cubicBezTo>
                  <a:cubicBezTo>
                    <a:pt x="173" y="140"/>
                    <a:pt x="173" y="140"/>
                    <a:pt x="173" y="140"/>
                  </a:cubicBezTo>
                  <a:cubicBezTo>
                    <a:pt x="166" y="161"/>
                    <a:pt x="148" y="175"/>
                    <a:pt x="126" y="175"/>
                  </a:cubicBezTo>
                  <a:cubicBezTo>
                    <a:pt x="113" y="175"/>
                    <a:pt x="101" y="170"/>
                    <a:pt x="9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7D2D6F91-C5DD-4492-A8FE-A4F61C52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5" y="3744913"/>
              <a:ext cx="144463" cy="147637"/>
            </a:xfrm>
            <a:custGeom>
              <a:avLst/>
              <a:gdLst>
                <a:gd name="T0" fmla="*/ 0 w 65"/>
                <a:gd name="T1" fmla="*/ 33 h 66"/>
                <a:gd name="T2" fmla="*/ 2 w 65"/>
                <a:gd name="T3" fmla="*/ 25 h 66"/>
                <a:gd name="T4" fmla="*/ 34 w 65"/>
                <a:gd name="T5" fmla="*/ 1 h 66"/>
                <a:gd name="T6" fmla="*/ 65 w 65"/>
                <a:gd name="T7" fmla="*/ 34 h 66"/>
                <a:gd name="T8" fmla="*/ 63 w 65"/>
                <a:gd name="T9" fmla="*/ 42 h 66"/>
                <a:gd name="T10" fmla="*/ 63 w 65"/>
                <a:gd name="T11" fmla="*/ 42 h 66"/>
                <a:gd name="T12" fmla="*/ 32 w 65"/>
                <a:gd name="T13" fmla="*/ 66 h 66"/>
                <a:gd name="T14" fmla="*/ 9 w 65"/>
                <a:gd name="T15" fmla="*/ 56 h 66"/>
                <a:gd name="T16" fmla="*/ 0 w 65"/>
                <a:gd name="T17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6">
                  <a:moveTo>
                    <a:pt x="0" y="33"/>
                  </a:moveTo>
                  <a:cubicBezTo>
                    <a:pt x="0" y="30"/>
                    <a:pt x="1" y="27"/>
                    <a:pt x="2" y="25"/>
                  </a:cubicBezTo>
                  <a:cubicBezTo>
                    <a:pt x="5" y="10"/>
                    <a:pt x="19" y="0"/>
                    <a:pt x="34" y="1"/>
                  </a:cubicBezTo>
                  <a:cubicBezTo>
                    <a:pt x="52" y="1"/>
                    <a:pt x="65" y="16"/>
                    <a:pt x="65" y="34"/>
                  </a:cubicBezTo>
                  <a:cubicBezTo>
                    <a:pt x="65" y="37"/>
                    <a:pt x="64" y="39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59" y="56"/>
                    <a:pt x="47" y="66"/>
                    <a:pt x="32" y="66"/>
                  </a:cubicBezTo>
                  <a:cubicBezTo>
                    <a:pt x="23" y="66"/>
                    <a:pt x="15" y="62"/>
                    <a:pt x="9" y="56"/>
                  </a:cubicBezTo>
                  <a:cubicBezTo>
                    <a:pt x="3" y="49"/>
                    <a:pt x="0" y="41"/>
                    <a:pt x="0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DA01246-611D-4635-BDB4-E3F382DE3796}"/>
              </a:ext>
            </a:extLst>
          </p:cNvPr>
          <p:cNvGrpSpPr/>
          <p:nvPr/>
        </p:nvGrpSpPr>
        <p:grpSpPr>
          <a:xfrm>
            <a:off x="3678715" y="1657914"/>
            <a:ext cx="540417" cy="540417"/>
            <a:chOff x="4460875" y="1806575"/>
            <a:chExt cx="568325" cy="568325"/>
          </a:xfrm>
          <a:solidFill>
            <a:srgbClr val="DADFE1"/>
          </a:solidFill>
          <a:effectLst/>
        </p:grpSpPr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D70FDA9C-ACBC-4A5B-AA71-0EACF05990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0875" y="1806575"/>
              <a:ext cx="568325" cy="568325"/>
            </a:xfrm>
            <a:custGeom>
              <a:avLst/>
              <a:gdLst>
                <a:gd name="T0" fmla="*/ 85 w 254"/>
                <a:gd name="T1" fmla="*/ 215 h 254"/>
                <a:gd name="T2" fmla="*/ 89 w 254"/>
                <a:gd name="T3" fmla="*/ 249 h 254"/>
                <a:gd name="T4" fmla="*/ 119 w 254"/>
                <a:gd name="T5" fmla="*/ 254 h 254"/>
                <a:gd name="T6" fmla="*/ 135 w 254"/>
                <a:gd name="T7" fmla="*/ 224 h 254"/>
                <a:gd name="T8" fmla="*/ 160 w 254"/>
                <a:gd name="T9" fmla="*/ 218 h 254"/>
                <a:gd name="T10" fmla="*/ 187 w 254"/>
                <a:gd name="T11" fmla="*/ 239 h 254"/>
                <a:gd name="T12" fmla="*/ 212 w 254"/>
                <a:gd name="T13" fmla="*/ 222 h 254"/>
                <a:gd name="T14" fmla="*/ 201 w 254"/>
                <a:gd name="T15" fmla="*/ 189 h 254"/>
                <a:gd name="T16" fmla="*/ 214 w 254"/>
                <a:gd name="T17" fmla="*/ 168 h 254"/>
                <a:gd name="T18" fmla="*/ 248 w 254"/>
                <a:gd name="T19" fmla="*/ 164 h 254"/>
                <a:gd name="T20" fmla="*/ 254 w 254"/>
                <a:gd name="T21" fmla="*/ 134 h 254"/>
                <a:gd name="T22" fmla="*/ 223 w 254"/>
                <a:gd name="T23" fmla="*/ 118 h 254"/>
                <a:gd name="T24" fmla="*/ 218 w 254"/>
                <a:gd name="T25" fmla="*/ 95 h 254"/>
                <a:gd name="T26" fmla="*/ 239 w 254"/>
                <a:gd name="T27" fmla="*/ 67 h 254"/>
                <a:gd name="T28" fmla="*/ 221 w 254"/>
                <a:gd name="T29" fmla="*/ 42 h 254"/>
                <a:gd name="T30" fmla="*/ 189 w 254"/>
                <a:gd name="T31" fmla="*/ 53 h 254"/>
                <a:gd name="T32" fmla="*/ 168 w 254"/>
                <a:gd name="T33" fmla="*/ 40 h 254"/>
                <a:gd name="T34" fmla="*/ 164 w 254"/>
                <a:gd name="T35" fmla="*/ 6 h 254"/>
                <a:gd name="T36" fmla="*/ 134 w 254"/>
                <a:gd name="T37" fmla="*/ 0 h 254"/>
                <a:gd name="T38" fmla="*/ 118 w 254"/>
                <a:gd name="T39" fmla="*/ 30 h 254"/>
                <a:gd name="T40" fmla="*/ 93 w 254"/>
                <a:gd name="T41" fmla="*/ 36 h 254"/>
                <a:gd name="T42" fmla="*/ 66 w 254"/>
                <a:gd name="T43" fmla="*/ 15 h 254"/>
                <a:gd name="T44" fmla="*/ 42 w 254"/>
                <a:gd name="T45" fmla="*/ 33 h 254"/>
                <a:gd name="T46" fmla="*/ 52 w 254"/>
                <a:gd name="T47" fmla="*/ 65 h 254"/>
                <a:gd name="T48" fmla="*/ 38 w 254"/>
                <a:gd name="T49" fmla="*/ 86 h 254"/>
                <a:gd name="T50" fmla="*/ 5 w 254"/>
                <a:gd name="T51" fmla="*/ 91 h 254"/>
                <a:gd name="T52" fmla="*/ 0 w 254"/>
                <a:gd name="T53" fmla="*/ 120 h 254"/>
                <a:gd name="T54" fmla="*/ 30 w 254"/>
                <a:gd name="T55" fmla="*/ 136 h 254"/>
                <a:gd name="T56" fmla="*/ 35 w 254"/>
                <a:gd name="T57" fmla="*/ 160 h 254"/>
                <a:gd name="T58" fmla="*/ 14 w 254"/>
                <a:gd name="T59" fmla="*/ 187 h 254"/>
                <a:gd name="T60" fmla="*/ 31 w 254"/>
                <a:gd name="T61" fmla="*/ 211 h 254"/>
                <a:gd name="T62" fmla="*/ 64 w 254"/>
                <a:gd name="T63" fmla="*/ 201 h 254"/>
                <a:gd name="T64" fmla="*/ 85 w 254"/>
                <a:gd name="T65" fmla="*/ 215 h 254"/>
                <a:gd name="T66" fmla="*/ 92 w 254"/>
                <a:gd name="T67" fmla="*/ 160 h 254"/>
                <a:gd name="T68" fmla="*/ 79 w 254"/>
                <a:gd name="T69" fmla="*/ 126 h 254"/>
                <a:gd name="T70" fmla="*/ 80 w 254"/>
                <a:gd name="T71" fmla="*/ 114 h 254"/>
                <a:gd name="T72" fmla="*/ 127 w 254"/>
                <a:gd name="T73" fmla="*/ 79 h 254"/>
                <a:gd name="T74" fmla="*/ 174 w 254"/>
                <a:gd name="T75" fmla="*/ 128 h 254"/>
                <a:gd name="T76" fmla="*/ 172 w 254"/>
                <a:gd name="T77" fmla="*/ 140 h 254"/>
                <a:gd name="T78" fmla="*/ 172 w 254"/>
                <a:gd name="T79" fmla="*/ 140 h 254"/>
                <a:gd name="T80" fmla="*/ 125 w 254"/>
                <a:gd name="T81" fmla="*/ 175 h 254"/>
                <a:gd name="T82" fmla="*/ 92 w 254"/>
                <a:gd name="T83" fmla="*/ 16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4">
                  <a:moveTo>
                    <a:pt x="85" y="215"/>
                  </a:moveTo>
                  <a:cubicBezTo>
                    <a:pt x="89" y="249"/>
                    <a:pt x="89" y="249"/>
                    <a:pt x="89" y="249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35" y="224"/>
                    <a:pt x="135" y="224"/>
                    <a:pt x="135" y="224"/>
                  </a:cubicBezTo>
                  <a:cubicBezTo>
                    <a:pt x="143" y="223"/>
                    <a:pt x="152" y="221"/>
                    <a:pt x="160" y="218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2"/>
                    <a:pt x="212" y="222"/>
                    <a:pt x="212" y="222"/>
                  </a:cubicBezTo>
                  <a:cubicBezTo>
                    <a:pt x="201" y="189"/>
                    <a:pt x="201" y="189"/>
                    <a:pt x="201" y="189"/>
                  </a:cubicBezTo>
                  <a:cubicBezTo>
                    <a:pt x="206" y="183"/>
                    <a:pt x="211" y="176"/>
                    <a:pt x="214" y="168"/>
                  </a:cubicBezTo>
                  <a:cubicBezTo>
                    <a:pt x="248" y="164"/>
                    <a:pt x="248" y="164"/>
                    <a:pt x="248" y="164"/>
                  </a:cubicBezTo>
                  <a:cubicBezTo>
                    <a:pt x="254" y="134"/>
                    <a:pt x="254" y="134"/>
                    <a:pt x="254" y="134"/>
                  </a:cubicBezTo>
                  <a:cubicBezTo>
                    <a:pt x="223" y="118"/>
                    <a:pt x="223" y="118"/>
                    <a:pt x="223" y="118"/>
                  </a:cubicBezTo>
                  <a:cubicBezTo>
                    <a:pt x="222" y="110"/>
                    <a:pt x="220" y="102"/>
                    <a:pt x="218" y="95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1" y="42"/>
                    <a:pt x="221" y="42"/>
                    <a:pt x="221" y="42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82" y="48"/>
                    <a:pt x="175" y="43"/>
                    <a:pt x="168" y="40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09" y="31"/>
                    <a:pt x="101" y="33"/>
                    <a:pt x="93" y="36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46" y="71"/>
                    <a:pt x="42" y="79"/>
                    <a:pt x="38" y="86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0" y="144"/>
                    <a:pt x="32" y="152"/>
                    <a:pt x="35" y="160"/>
                  </a:cubicBezTo>
                  <a:cubicBezTo>
                    <a:pt x="14" y="187"/>
                    <a:pt x="14" y="187"/>
                    <a:pt x="14" y="187"/>
                  </a:cubicBezTo>
                  <a:cubicBezTo>
                    <a:pt x="31" y="211"/>
                    <a:pt x="31" y="211"/>
                    <a:pt x="31" y="211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0" y="207"/>
                    <a:pt x="77" y="211"/>
                    <a:pt x="85" y="215"/>
                  </a:cubicBezTo>
                  <a:close/>
                  <a:moveTo>
                    <a:pt x="92" y="160"/>
                  </a:moveTo>
                  <a:cubicBezTo>
                    <a:pt x="83" y="151"/>
                    <a:pt x="78" y="139"/>
                    <a:pt x="79" y="126"/>
                  </a:cubicBezTo>
                  <a:cubicBezTo>
                    <a:pt x="79" y="122"/>
                    <a:pt x="79" y="118"/>
                    <a:pt x="80" y="114"/>
                  </a:cubicBezTo>
                  <a:cubicBezTo>
                    <a:pt x="86" y="93"/>
                    <a:pt x="105" y="79"/>
                    <a:pt x="127" y="79"/>
                  </a:cubicBezTo>
                  <a:cubicBezTo>
                    <a:pt x="154" y="80"/>
                    <a:pt x="175" y="102"/>
                    <a:pt x="174" y="128"/>
                  </a:cubicBezTo>
                  <a:cubicBezTo>
                    <a:pt x="174" y="132"/>
                    <a:pt x="172" y="136"/>
                    <a:pt x="172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166" y="161"/>
                    <a:pt x="147" y="175"/>
                    <a:pt x="125" y="175"/>
                  </a:cubicBezTo>
                  <a:cubicBezTo>
                    <a:pt x="113" y="175"/>
                    <a:pt x="101" y="169"/>
                    <a:pt x="92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B544845B-AD49-43EE-B107-B51ED7979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8" y="2016125"/>
              <a:ext cx="147638" cy="147637"/>
            </a:xfrm>
            <a:custGeom>
              <a:avLst/>
              <a:gdLst>
                <a:gd name="T0" fmla="*/ 1 w 66"/>
                <a:gd name="T1" fmla="*/ 32 h 66"/>
                <a:gd name="T2" fmla="*/ 2 w 66"/>
                <a:gd name="T3" fmla="*/ 25 h 66"/>
                <a:gd name="T4" fmla="*/ 34 w 66"/>
                <a:gd name="T5" fmla="*/ 1 h 66"/>
                <a:gd name="T6" fmla="*/ 65 w 66"/>
                <a:gd name="T7" fmla="*/ 34 h 66"/>
                <a:gd name="T8" fmla="*/ 63 w 66"/>
                <a:gd name="T9" fmla="*/ 41 h 66"/>
                <a:gd name="T10" fmla="*/ 63 w 66"/>
                <a:gd name="T11" fmla="*/ 41 h 66"/>
                <a:gd name="T12" fmla="*/ 32 w 66"/>
                <a:gd name="T13" fmla="*/ 66 h 66"/>
                <a:gd name="T14" fmla="*/ 9 w 66"/>
                <a:gd name="T15" fmla="*/ 56 h 66"/>
                <a:gd name="T16" fmla="*/ 1 w 66"/>
                <a:gd name="T17" fmla="*/ 3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6">
                  <a:moveTo>
                    <a:pt x="1" y="32"/>
                  </a:moveTo>
                  <a:cubicBezTo>
                    <a:pt x="1" y="30"/>
                    <a:pt x="1" y="27"/>
                    <a:pt x="2" y="25"/>
                  </a:cubicBezTo>
                  <a:cubicBezTo>
                    <a:pt x="6" y="10"/>
                    <a:pt x="19" y="0"/>
                    <a:pt x="34" y="1"/>
                  </a:cubicBezTo>
                  <a:cubicBezTo>
                    <a:pt x="52" y="1"/>
                    <a:pt x="66" y="16"/>
                    <a:pt x="65" y="34"/>
                  </a:cubicBezTo>
                  <a:cubicBezTo>
                    <a:pt x="65" y="36"/>
                    <a:pt x="64" y="39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59" y="56"/>
                    <a:pt x="47" y="66"/>
                    <a:pt x="32" y="66"/>
                  </a:cubicBezTo>
                  <a:cubicBezTo>
                    <a:pt x="23" y="65"/>
                    <a:pt x="15" y="62"/>
                    <a:pt x="9" y="56"/>
                  </a:cubicBezTo>
                  <a:cubicBezTo>
                    <a:pt x="3" y="49"/>
                    <a:pt x="0" y="41"/>
                    <a:pt x="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C2B9F28-3BC6-4BCD-9CF6-F1007032862B}"/>
              </a:ext>
            </a:extLst>
          </p:cNvPr>
          <p:cNvGrpSpPr/>
          <p:nvPr/>
        </p:nvGrpSpPr>
        <p:grpSpPr>
          <a:xfrm>
            <a:off x="2535989" y="1979447"/>
            <a:ext cx="540417" cy="537398"/>
            <a:chOff x="3259138" y="2144713"/>
            <a:chExt cx="568325" cy="565150"/>
          </a:xfrm>
          <a:solidFill>
            <a:srgbClr val="DADFE1"/>
          </a:solidFill>
          <a:effectLst/>
        </p:grpSpPr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9184F6BC-A6C9-4215-8737-4C990514F4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9138" y="2144713"/>
              <a:ext cx="568325" cy="565150"/>
            </a:xfrm>
            <a:custGeom>
              <a:avLst/>
              <a:gdLst>
                <a:gd name="T0" fmla="*/ 85 w 254"/>
                <a:gd name="T1" fmla="*/ 214 h 253"/>
                <a:gd name="T2" fmla="*/ 90 w 254"/>
                <a:gd name="T3" fmla="*/ 248 h 253"/>
                <a:gd name="T4" fmla="*/ 119 w 254"/>
                <a:gd name="T5" fmla="*/ 253 h 253"/>
                <a:gd name="T6" fmla="*/ 135 w 254"/>
                <a:gd name="T7" fmla="*/ 223 h 253"/>
                <a:gd name="T8" fmla="*/ 160 w 254"/>
                <a:gd name="T9" fmla="*/ 218 h 253"/>
                <a:gd name="T10" fmla="*/ 187 w 254"/>
                <a:gd name="T11" fmla="*/ 239 h 253"/>
                <a:gd name="T12" fmla="*/ 212 w 254"/>
                <a:gd name="T13" fmla="*/ 221 h 253"/>
                <a:gd name="T14" fmla="*/ 202 w 254"/>
                <a:gd name="T15" fmla="*/ 188 h 253"/>
                <a:gd name="T16" fmla="*/ 215 w 254"/>
                <a:gd name="T17" fmla="*/ 168 h 253"/>
                <a:gd name="T18" fmla="*/ 249 w 254"/>
                <a:gd name="T19" fmla="*/ 163 h 253"/>
                <a:gd name="T20" fmla="*/ 254 w 254"/>
                <a:gd name="T21" fmla="*/ 133 h 253"/>
                <a:gd name="T22" fmla="*/ 224 w 254"/>
                <a:gd name="T23" fmla="*/ 117 h 253"/>
                <a:gd name="T24" fmla="*/ 218 w 254"/>
                <a:gd name="T25" fmla="*/ 94 h 253"/>
                <a:gd name="T26" fmla="*/ 239 w 254"/>
                <a:gd name="T27" fmla="*/ 67 h 253"/>
                <a:gd name="T28" fmla="*/ 222 w 254"/>
                <a:gd name="T29" fmla="*/ 42 h 253"/>
                <a:gd name="T30" fmla="*/ 189 w 254"/>
                <a:gd name="T31" fmla="*/ 52 h 253"/>
                <a:gd name="T32" fmla="*/ 169 w 254"/>
                <a:gd name="T33" fmla="*/ 39 h 253"/>
                <a:gd name="T34" fmla="*/ 164 w 254"/>
                <a:gd name="T35" fmla="*/ 5 h 253"/>
                <a:gd name="T36" fmla="*/ 134 w 254"/>
                <a:gd name="T37" fmla="*/ 0 h 253"/>
                <a:gd name="T38" fmla="*/ 119 w 254"/>
                <a:gd name="T39" fmla="*/ 30 h 253"/>
                <a:gd name="T40" fmla="*/ 94 w 254"/>
                <a:gd name="T41" fmla="*/ 35 h 253"/>
                <a:gd name="T42" fmla="*/ 67 w 254"/>
                <a:gd name="T43" fmla="*/ 15 h 253"/>
                <a:gd name="T44" fmla="*/ 42 w 254"/>
                <a:gd name="T45" fmla="*/ 32 h 253"/>
                <a:gd name="T46" fmla="*/ 52 w 254"/>
                <a:gd name="T47" fmla="*/ 64 h 253"/>
                <a:gd name="T48" fmla="*/ 39 w 254"/>
                <a:gd name="T49" fmla="*/ 86 h 253"/>
                <a:gd name="T50" fmla="*/ 5 w 254"/>
                <a:gd name="T51" fmla="*/ 90 h 253"/>
                <a:gd name="T52" fmla="*/ 0 w 254"/>
                <a:gd name="T53" fmla="*/ 120 h 253"/>
                <a:gd name="T54" fmla="*/ 30 w 254"/>
                <a:gd name="T55" fmla="*/ 135 h 253"/>
                <a:gd name="T56" fmla="*/ 35 w 254"/>
                <a:gd name="T57" fmla="*/ 159 h 253"/>
                <a:gd name="T58" fmla="*/ 15 w 254"/>
                <a:gd name="T59" fmla="*/ 186 h 253"/>
                <a:gd name="T60" fmla="*/ 32 w 254"/>
                <a:gd name="T61" fmla="*/ 211 h 253"/>
                <a:gd name="T62" fmla="*/ 64 w 254"/>
                <a:gd name="T63" fmla="*/ 201 h 253"/>
                <a:gd name="T64" fmla="*/ 85 w 254"/>
                <a:gd name="T65" fmla="*/ 214 h 253"/>
                <a:gd name="T66" fmla="*/ 93 w 254"/>
                <a:gd name="T67" fmla="*/ 160 h 253"/>
                <a:gd name="T68" fmla="*/ 79 w 254"/>
                <a:gd name="T69" fmla="*/ 125 h 253"/>
                <a:gd name="T70" fmla="*/ 81 w 254"/>
                <a:gd name="T71" fmla="*/ 114 h 253"/>
                <a:gd name="T72" fmla="*/ 128 w 254"/>
                <a:gd name="T73" fmla="*/ 79 h 253"/>
                <a:gd name="T74" fmla="*/ 175 w 254"/>
                <a:gd name="T75" fmla="*/ 127 h 253"/>
                <a:gd name="T76" fmla="*/ 173 w 254"/>
                <a:gd name="T77" fmla="*/ 139 h 253"/>
                <a:gd name="T78" fmla="*/ 173 w 254"/>
                <a:gd name="T79" fmla="*/ 139 h 253"/>
                <a:gd name="T80" fmla="*/ 126 w 254"/>
                <a:gd name="T81" fmla="*/ 174 h 253"/>
                <a:gd name="T82" fmla="*/ 93 w 254"/>
                <a:gd name="T83" fmla="*/ 16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3">
                  <a:moveTo>
                    <a:pt x="85" y="214"/>
                  </a:moveTo>
                  <a:cubicBezTo>
                    <a:pt x="90" y="248"/>
                    <a:pt x="90" y="248"/>
                    <a:pt x="90" y="248"/>
                  </a:cubicBezTo>
                  <a:cubicBezTo>
                    <a:pt x="119" y="253"/>
                    <a:pt x="119" y="253"/>
                    <a:pt x="119" y="253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144" y="223"/>
                    <a:pt x="152" y="221"/>
                    <a:pt x="160" y="218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1"/>
                    <a:pt x="212" y="221"/>
                    <a:pt x="212" y="221"/>
                  </a:cubicBezTo>
                  <a:cubicBezTo>
                    <a:pt x="202" y="188"/>
                    <a:pt x="202" y="188"/>
                    <a:pt x="202" y="188"/>
                  </a:cubicBezTo>
                  <a:cubicBezTo>
                    <a:pt x="207" y="182"/>
                    <a:pt x="211" y="175"/>
                    <a:pt x="215" y="168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33"/>
                    <a:pt x="254" y="133"/>
                    <a:pt x="254" y="133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3" y="109"/>
                    <a:pt x="221" y="101"/>
                    <a:pt x="218" y="94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2" y="42"/>
                    <a:pt x="222" y="42"/>
                    <a:pt x="222" y="42"/>
                  </a:cubicBezTo>
                  <a:cubicBezTo>
                    <a:pt x="189" y="52"/>
                    <a:pt x="189" y="52"/>
                    <a:pt x="189" y="52"/>
                  </a:cubicBezTo>
                  <a:cubicBezTo>
                    <a:pt x="183" y="47"/>
                    <a:pt x="176" y="42"/>
                    <a:pt x="169" y="39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0" y="31"/>
                    <a:pt x="102" y="32"/>
                    <a:pt x="94" y="3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47" y="71"/>
                    <a:pt x="42" y="78"/>
                    <a:pt x="39" y="86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31" y="144"/>
                    <a:pt x="33" y="151"/>
                    <a:pt x="35" y="159"/>
                  </a:cubicBezTo>
                  <a:cubicBezTo>
                    <a:pt x="15" y="186"/>
                    <a:pt x="15" y="186"/>
                    <a:pt x="15" y="186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1" y="206"/>
                    <a:pt x="78" y="211"/>
                    <a:pt x="85" y="214"/>
                  </a:cubicBezTo>
                  <a:close/>
                  <a:moveTo>
                    <a:pt x="93" y="160"/>
                  </a:moveTo>
                  <a:cubicBezTo>
                    <a:pt x="84" y="150"/>
                    <a:pt x="79" y="138"/>
                    <a:pt x="79" y="125"/>
                  </a:cubicBezTo>
                  <a:cubicBezTo>
                    <a:pt x="79" y="122"/>
                    <a:pt x="80" y="118"/>
                    <a:pt x="81" y="114"/>
                  </a:cubicBezTo>
                  <a:cubicBezTo>
                    <a:pt x="87" y="93"/>
                    <a:pt x="106" y="78"/>
                    <a:pt x="128" y="79"/>
                  </a:cubicBezTo>
                  <a:cubicBezTo>
                    <a:pt x="154" y="79"/>
                    <a:pt x="175" y="101"/>
                    <a:pt x="175" y="127"/>
                  </a:cubicBezTo>
                  <a:cubicBezTo>
                    <a:pt x="175" y="131"/>
                    <a:pt x="173" y="135"/>
                    <a:pt x="173" y="139"/>
                  </a:cubicBezTo>
                  <a:cubicBezTo>
                    <a:pt x="173" y="139"/>
                    <a:pt x="173" y="139"/>
                    <a:pt x="173" y="139"/>
                  </a:cubicBezTo>
                  <a:cubicBezTo>
                    <a:pt x="166" y="160"/>
                    <a:pt x="148" y="175"/>
                    <a:pt x="126" y="174"/>
                  </a:cubicBezTo>
                  <a:cubicBezTo>
                    <a:pt x="113" y="174"/>
                    <a:pt x="101" y="169"/>
                    <a:pt x="9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C16FE088-8E8A-4D3E-B271-77DFF8FB9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275" y="2354263"/>
              <a:ext cx="144463" cy="146050"/>
            </a:xfrm>
            <a:custGeom>
              <a:avLst/>
              <a:gdLst>
                <a:gd name="T0" fmla="*/ 0 w 65"/>
                <a:gd name="T1" fmla="*/ 32 h 65"/>
                <a:gd name="T2" fmla="*/ 1 w 65"/>
                <a:gd name="T3" fmla="*/ 24 h 65"/>
                <a:gd name="T4" fmla="*/ 34 w 65"/>
                <a:gd name="T5" fmla="*/ 0 h 65"/>
                <a:gd name="T6" fmla="*/ 65 w 65"/>
                <a:gd name="T7" fmla="*/ 33 h 65"/>
                <a:gd name="T8" fmla="*/ 63 w 65"/>
                <a:gd name="T9" fmla="*/ 41 h 65"/>
                <a:gd name="T10" fmla="*/ 63 w 65"/>
                <a:gd name="T11" fmla="*/ 41 h 65"/>
                <a:gd name="T12" fmla="*/ 32 w 65"/>
                <a:gd name="T13" fmla="*/ 65 h 65"/>
                <a:gd name="T14" fmla="*/ 9 w 65"/>
                <a:gd name="T15" fmla="*/ 55 h 65"/>
                <a:gd name="T16" fmla="*/ 0 w 65"/>
                <a:gd name="T17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5">
                  <a:moveTo>
                    <a:pt x="0" y="32"/>
                  </a:moveTo>
                  <a:cubicBezTo>
                    <a:pt x="0" y="29"/>
                    <a:pt x="1" y="26"/>
                    <a:pt x="1" y="24"/>
                  </a:cubicBezTo>
                  <a:cubicBezTo>
                    <a:pt x="5" y="9"/>
                    <a:pt x="19" y="0"/>
                    <a:pt x="34" y="0"/>
                  </a:cubicBezTo>
                  <a:cubicBezTo>
                    <a:pt x="52" y="0"/>
                    <a:pt x="65" y="15"/>
                    <a:pt x="65" y="33"/>
                  </a:cubicBezTo>
                  <a:cubicBezTo>
                    <a:pt x="65" y="36"/>
                    <a:pt x="64" y="38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59" y="55"/>
                    <a:pt x="46" y="65"/>
                    <a:pt x="32" y="65"/>
                  </a:cubicBezTo>
                  <a:cubicBezTo>
                    <a:pt x="23" y="65"/>
                    <a:pt x="15" y="61"/>
                    <a:pt x="9" y="55"/>
                  </a:cubicBezTo>
                  <a:cubicBezTo>
                    <a:pt x="3" y="49"/>
                    <a:pt x="0" y="41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0DB415F-0FB5-4D26-B14F-D9C11473ECDE}"/>
              </a:ext>
            </a:extLst>
          </p:cNvPr>
          <p:cNvGrpSpPr/>
          <p:nvPr/>
        </p:nvGrpSpPr>
        <p:grpSpPr>
          <a:xfrm>
            <a:off x="3179056" y="1870760"/>
            <a:ext cx="493622" cy="490602"/>
            <a:chOff x="3935413" y="2030413"/>
            <a:chExt cx="519113" cy="515937"/>
          </a:xfrm>
          <a:solidFill>
            <a:srgbClr val="DADFE1"/>
          </a:solidFill>
          <a:effectLst/>
        </p:grpSpPr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13F54FC3-DFBF-41BB-8A74-8109A3207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413" y="2030413"/>
              <a:ext cx="519113" cy="515937"/>
            </a:xfrm>
            <a:custGeom>
              <a:avLst/>
              <a:gdLst>
                <a:gd name="T0" fmla="*/ 78 w 232"/>
                <a:gd name="T1" fmla="*/ 196 h 231"/>
                <a:gd name="T2" fmla="*/ 82 w 232"/>
                <a:gd name="T3" fmla="*/ 227 h 231"/>
                <a:gd name="T4" fmla="*/ 109 w 232"/>
                <a:gd name="T5" fmla="*/ 231 h 231"/>
                <a:gd name="T6" fmla="*/ 123 w 232"/>
                <a:gd name="T7" fmla="*/ 204 h 231"/>
                <a:gd name="T8" fmla="*/ 146 w 232"/>
                <a:gd name="T9" fmla="*/ 199 h 231"/>
                <a:gd name="T10" fmla="*/ 171 w 232"/>
                <a:gd name="T11" fmla="*/ 218 h 231"/>
                <a:gd name="T12" fmla="*/ 194 w 232"/>
                <a:gd name="T13" fmla="*/ 202 h 231"/>
                <a:gd name="T14" fmla="*/ 184 w 232"/>
                <a:gd name="T15" fmla="*/ 172 h 231"/>
                <a:gd name="T16" fmla="*/ 196 w 232"/>
                <a:gd name="T17" fmla="*/ 153 h 231"/>
                <a:gd name="T18" fmla="*/ 227 w 232"/>
                <a:gd name="T19" fmla="*/ 149 h 231"/>
                <a:gd name="T20" fmla="*/ 232 w 232"/>
                <a:gd name="T21" fmla="*/ 122 h 231"/>
                <a:gd name="T22" fmla="*/ 204 w 232"/>
                <a:gd name="T23" fmla="*/ 107 h 231"/>
                <a:gd name="T24" fmla="*/ 199 w 232"/>
                <a:gd name="T25" fmla="*/ 86 h 231"/>
                <a:gd name="T26" fmla="*/ 218 w 232"/>
                <a:gd name="T27" fmla="*/ 61 h 231"/>
                <a:gd name="T28" fmla="*/ 203 w 232"/>
                <a:gd name="T29" fmla="*/ 38 h 231"/>
                <a:gd name="T30" fmla="*/ 173 w 232"/>
                <a:gd name="T31" fmla="*/ 48 h 231"/>
                <a:gd name="T32" fmla="*/ 154 w 232"/>
                <a:gd name="T33" fmla="*/ 36 h 231"/>
                <a:gd name="T34" fmla="*/ 150 w 232"/>
                <a:gd name="T35" fmla="*/ 4 h 231"/>
                <a:gd name="T36" fmla="*/ 123 w 232"/>
                <a:gd name="T37" fmla="*/ 0 h 231"/>
                <a:gd name="T38" fmla="*/ 108 w 232"/>
                <a:gd name="T39" fmla="*/ 27 h 231"/>
                <a:gd name="T40" fmla="*/ 86 w 232"/>
                <a:gd name="T41" fmla="*/ 32 h 231"/>
                <a:gd name="T42" fmla="*/ 61 w 232"/>
                <a:gd name="T43" fmla="*/ 13 h 231"/>
                <a:gd name="T44" fmla="*/ 38 w 232"/>
                <a:gd name="T45" fmla="*/ 29 h 231"/>
                <a:gd name="T46" fmla="*/ 48 w 232"/>
                <a:gd name="T47" fmla="*/ 59 h 231"/>
                <a:gd name="T48" fmla="*/ 35 w 232"/>
                <a:gd name="T49" fmla="*/ 78 h 231"/>
                <a:gd name="T50" fmla="*/ 5 w 232"/>
                <a:gd name="T51" fmla="*/ 82 h 231"/>
                <a:gd name="T52" fmla="*/ 0 w 232"/>
                <a:gd name="T53" fmla="*/ 109 h 231"/>
                <a:gd name="T54" fmla="*/ 27 w 232"/>
                <a:gd name="T55" fmla="*/ 124 h 231"/>
                <a:gd name="T56" fmla="*/ 32 w 232"/>
                <a:gd name="T57" fmla="*/ 145 h 231"/>
                <a:gd name="T58" fmla="*/ 13 w 232"/>
                <a:gd name="T59" fmla="*/ 170 h 231"/>
                <a:gd name="T60" fmla="*/ 29 w 232"/>
                <a:gd name="T61" fmla="*/ 192 h 231"/>
                <a:gd name="T62" fmla="*/ 58 w 232"/>
                <a:gd name="T63" fmla="*/ 183 h 231"/>
                <a:gd name="T64" fmla="*/ 78 w 232"/>
                <a:gd name="T65" fmla="*/ 196 h 231"/>
                <a:gd name="T66" fmla="*/ 84 w 232"/>
                <a:gd name="T67" fmla="*/ 146 h 231"/>
                <a:gd name="T68" fmla="*/ 72 w 232"/>
                <a:gd name="T69" fmla="*/ 115 h 231"/>
                <a:gd name="T70" fmla="*/ 74 w 232"/>
                <a:gd name="T71" fmla="*/ 104 h 231"/>
                <a:gd name="T72" fmla="*/ 117 w 232"/>
                <a:gd name="T73" fmla="*/ 72 h 231"/>
                <a:gd name="T74" fmla="*/ 160 w 232"/>
                <a:gd name="T75" fmla="*/ 116 h 231"/>
                <a:gd name="T76" fmla="*/ 159 w 232"/>
                <a:gd name="T77" fmla="*/ 127 h 231"/>
                <a:gd name="T78" fmla="*/ 159 w 232"/>
                <a:gd name="T79" fmla="*/ 127 h 231"/>
                <a:gd name="T80" fmla="*/ 115 w 232"/>
                <a:gd name="T81" fmla="*/ 159 h 231"/>
                <a:gd name="T82" fmla="*/ 84 w 232"/>
                <a:gd name="T83" fmla="*/ 14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2" h="231">
                  <a:moveTo>
                    <a:pt x="78" y="196"/>
                  </a:moveTo>
                  <a:cubicBezTo>
                    <a:pt x="82" y="227"/>
                    <a:pt x="82" y="227"/>
                    <a:pt x="82" y="227"/>
                  </a:cubicBezTo>
                  <a:cubicBezTo>
                    <a:pt x="109" y="231"/>
                    <a:pt x="109" y="231"/>
                    <a:pt x="109" y="231"/>
                  </a:cubicBezTo>
                  <a:cubicBezTo>
                    <a:pt x="123" y="204"/>
                    <a:pt x="123" y="204"/>
                    <a:pt x="123" y="204"/>
                  </a:cubicBezTo>
                  <a:cubicBezTo>
                    <a:pt x="131" y="203"/>
                    <a:pt x="139" y="201"/>
                    <a:pt x="146" y="199"/>
                  </a:cubicBezTo>
                  <a:cubicBezTo>
                    <a:pt x="171" y="218"/>
                    <a:pt x="171" y="218"/>
                    <a:pt x="171" y="218"/>
                  </a:cubicBezTo>
                  <a:cubicBezTo>
                    <a:pt x="194" y="202"/>
                    <a:pt x="194" y="202"/>
                    <a:pt x="194" y="202"/>
                  </a:cubicBezTo>
                  <a:cubicBezTo>
                    <a:pt x="184" y="172"/>
                    <a:pt x="184" y="172"/>
                    <a:pt x="184" y="172"/>
                  </a:cubicBezTo>
                  <a:cubicBezTo>
                    <a:pt x="189" y="166"/>
                    <a:pt x="193" y="160"/>
                    <a:pt x="196" y="153"/>
                  </a:cubicBezTo>
                  <a:cubicBezTo>
                    <a:pt x="227" y="149"/>
                    <a:pt x="227" y="149"/>
                    <a:pt x="227" y="149"/>
                  </a:cubicBezTo>
                  <a:cubicBezTo>
                    <a:pt x="232" y="122"/>
                    <a:pt x="232" y="122"/>
                    <a:pt x="232" y="122"/>
                  </a:cubicBezTo>
                  <a:cubicBezTo>
                    <a:pt x="204" y="107"/>
                    <a:pt x="204" y="107"/>
                    <a:pt x="204" y="107"/>
                  </a:cubicBezTo>
                  <a:cubicBezTo>
                    <a:pt x="203" y="100"/>
                    <a:pt x="202" y="93"/>
                    <a:pt x="199" y="86"/>
                  </a:cubicBezTo>
                  <a:cubicBezTo>
                    <a:pt x="218" y="61"/>
                    <a:pt x="218" y="61"/>
                    <a:pt x="218" y="61"/>
                  </a:cubicBezTo>
                  <a:cubicBezTo>
                    <a:pt x="203" y="38"/>
                    <a:pt x="203" y="38"/>
                    <a:pt x="203" y="38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67" y="43"/>
                    <a:pt x="161" y="39"/>
                    <a:pt x="154" y="3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0" y="28"/>
                    <a:pt x="93" y="30"/>
                    <a:pt x="86" y="32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3" y="65"/>
                    <a:pt x="39" y="71"/>
                    <a:pt x="35" y="78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8" y="131"/>
                    <a:pt x="30" y="138"/>
                    <a:pt x="32" y="145"/>
                  </a:cubicBezTo>
                  <a:cubicBezTo>
                    <a:pt x="13" y="170"/>
                    <a:pt x="13" y="170"/>
                    <a:pt x="13" y="170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58" y="183"/>
                    <a:pt x="58" y="183"/>
                    <a:pt x="58" y="183"/>
                  </a:cubicBezTo>
                  <a:cubicBezTo>
                    <a:pt x="64" y="188"/>
                    <a:pt x="71" y="192"/>
                    <a:pt x="78" y="196"/>
                  </a:cubicBezTo>
                  <a:close/>
                  <a:moveTo>
                    <a:pt x="84" y="146"/>
                  </a:moveTo>
                  <a:cubicBezTo>
                    <a:pt x="76" y="137"/>
                    <a:pt x="72" y="126"/>
                    <a:pt x="72" y="115"/>
                  </a:cubicBezTo>
                  <a:cubicBezTo>
                    <a:pt x="72" y="111"/>
                    <a:pt x="73" y="107"/>
                    <a:pt x="74" y="104"/>
                  </a:cubicBezTo>
                  <a:cubicBezTo>
                    <a:pt x="79" y="85"/>
                    <a:pt x="97" y="71"/>
                    <a:pt x="117" y="72"/>
                  </a:cubicBezTo>
                  <a:cubicBezTo>
                    <a:pt x="141" y="72"/>
                    <a:pt x="160" y="92"/>
                    <a:pt x="160" y="116"/>
                  </a:cubicBezTo>
                  <a:cubicBezTo>
                    <a:pt x="160" y="120"/>
                    <a:pt x="159" y="123"/>
                    <a:pt x="159" y="127"/>
                  </a:cubicBezTo>
                  <a:cubicBezTo>
                    <a:pt x="159" y="127"/>
                    <a:pt x="159" y="127"/>
                    <a:pt x="159" y="127"/>
                  </a:cubicBezTo>
                  <a:cubicBezTo>
                    <a:pt x="151" y="146"/>
                    <a:pt x="135" y="159"/>
                    <a:pt x="115" y="159"/>
                  </a:cubicBezTo>
                  <a:cubicBezTo>
                    <a:pt x="104" y="159"/>
                    <a:pt x="92" y="154"/>
                    <a:pt x="84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35E7E9F6-6639-40E4-9CCF-A4212CB78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2222500"/>
              <a:ext cx="131763" cy="131762"/>
            </a:xfrm>
            <a:custGeom>
              <a:avLst/>
              <a:gdLst>
                <a:gd name="T0" fmla="*/ 0 w 59"/>
                <a:gd name="T1" fmla="*/ 29 h 59"/>
                <a:gd name="T2" fmla="*/ 1 w 59"/>
                <a:gd name="T3" fmla="*/ 22 h 59"/>
                <a:gd name="T4" fmla="*/ 30 w 59"/>
                <a:gd name="T5" fmla="*/ 0 h 59"/>
                <a:gd name="T6" fmla="*/ 59 w 59"/>
                <a:gd name="T7" fmla="*/ 30 h 59"/>
                <a:gd name="T8" fmla="*/ 57 w 59"/>
                <a:gd name="T9" fmla="*/ 37 h 59"/>
                <a:gd name="T10" fmla="*/ 57 w 59"/>
                <a:gd name="T11" fmla="*/ 37 h 59"/>
                <a:gd name="T12" fmla="*/ 28 w 59"/>
                <a:gd name="T13" fmla="*/ 59 h 59"/>
                <a:gd name="T14" fmla="*/ 8 w 59"/>
                <a:gd name="T15" fmla="*/ 50 h 59"/>
                <a:gd name="T16" fmla="*/ 0 w 59"/>
                <a:gd name="T17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59">
                  <a:moveTo>
                    <a:pt x="0" y="29"/>
                  </a:moveTo>
                  <a:cubicBezTo>
                    <a:pt x="0" y="26"/>
                    <a:pt x="0" y="24"/>
                    <a:pt x="1" y="22"/>
                  </a:cubicBezTo>
                  <a:cubicBezTo>
                    <a:pt x="5" y="8"/>
                    <a:pt x="17" y="0"/>
                    <a:pt x="30" y="0"/>
                  </a:cubicBezTo>
                  <a:cubicBezTo>
                    <a:pt x="47" y="0"/>
                    <a:pt x="59" y="14"/>
                    <a:pt x="59" y="30"/>
                  </a:cubicBezTo>
                  <a:cubicBezTo>
                    <a:pt x="59" y="32"/>
                    <a:pt x="58" y="35"/>
                    <a:pt x="57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4" y="50"/>
                    <a:pt x="42" y="59"/>
                    <a:pt x="28" y="59"/>
                  </a:cubicBezTo>
                  <a:cubicBezTo>
                    <a:pt x="21" y="59"/>
                    <a:pt x="13" y="56"/>
                    <a:pt x="8" y="50"/>
                  </a:cubicBezTo>
                  <a:cubicBezTo>
                    <a:pt x="2" y="44"/>
                    <a:pt x="0" y="37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894D83D-98D3-40E5-AAD3-1B47C36647DA}"/>
              </a:ext>
            </a:extLst>
          </p:cNvPr>
          <p:cNvGrpSpPr/>
          <p:nvPr/>
        </p:nvGrpSpPr>
        <p:grpSpPr>
          <a:xfrm>
            <a:off x="4143654" y="1964351"/>
            <a:ext cx="540417" cy="540417"/>
            <a:chOff x="4949825" y="2128838"/>
            <a:chExt cx="568325" cy="568325"/>
          </a:xfrm>
          <a:solidFill>
            <a:srgbClr val="DADFE1"/>
          </a:solidFill>
          <a:effectLst/>
        </p:grpSpPr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3A8A62DB-E767-4099-A04F-9443E24EC9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9825" y="2128838"/>
              <a:ext cx="568325" cy="568325"/>
            </a:xfrm>
            <a:custGeom>
              <a:avLst/>
              <a:gdLst>
                <a:gd name="T0" fmla="*/ 85 w 254"/>
                <a:gd name="T1" fmla="*/ 214 h 254"/>
                <a:gd name="T2" fmla="*/ 90 w 254"/>
                <a:gd name="T3" fmla="*/ 248 h 254"/>
                <a:gd name="T4" fmla="*/ 120 w 254"/>
                <a:gd name="T5" fmla="*/ 254 h 254"/>
                <a:gd name="T6" fmla="*/ 135 w 254"/>
                <a:gd name="T7" fmla="*/ 223 h 254"/>
                <a:gd name="T8" fmla="*/ 160 w 254"/>
                <a:gd name="T9" fmla="*/ 218 h 254"/>
                <a:gd name="T10" fmla="*/ 187 w 254"/>
                <a:gd name="T11" fmla="*/ 239 h 254"/>
                <a:gd name="T12" fmla="*/ 212 w 254"/>
                <a:gd name="T13" fmla="*/ 221 h 254"/>
                <a:gd name="T14" fmla="*/ 202 w 254"/>
                <a:gd name="T15" fmla="*/ 188 h 254"/>
                <a:gd name="T16" fmla="*/ 215 w 254"/>
                <a:gd name="T17" fmla="*/ 168 h 254"/>
                <a:gd name="T18" fmla="*/ 249 w 254"/>
                <a:gd name="T19" fmla="*/ 163 h 254"/>
                <a:gd name="T20" fmla="*/ 254 w 254"/>
                <a:gd name="T21" fmla="*/ 134 h 254"/>
                <a:gd name="T22" fmla="*/ 224 w 254"/>
                <a:gd name="T23" fmla="*/ 118 h 254"/>
                <a:gd name="T24" fmla="*/ 218 w 254"/>
                <a:gd name="T25" fmla="*/ 94 h 254"/>
                <a:gd name="T26" fmla="*/ 239 w 254"/>
                <a:gd name="T27" fmla="*/ 67 h 254"/>
                <a:gd name="T28" fmla="*/ 222 w 254"/>
                <a:gd name="T29" fmla="*/ 42 h 254"/>
                <a:gd name="T30" fmla="*/ 189 w 254"/>
                <a:gd name="T31" fmla="*/ 52 h 254"/>
                <a:gd name="T32" fmla="*/ 169 w 254"/>
                <a:gd name="T33" fmla="*/ 39 h 254"/>
                <a:gd name="T34" fmla="*/ 164 w 254"/>
                <a:gd name="T35" fmla="*/ 5 h 254"/>
                <a:gd name="T36" fmla="*/ 134 w 254"/>
                <a:gd name="T37" fmla="*/ 0 h 254"/>
                <a:gd name="T38" fmla="*/ 119 w 254"/>
                <a:gd name="T39" fmla="*/ 30 h 254"/>
                <a:gd name="T40" fmla="*/ 94 w 254"/>
                <a:gd name="T41" fmla="*/ 35 h 254"/>
                <a:gd name="T42" fmla="*/ 67 w 254"/>
                <a:gd name="T43" fmla="*/ 15 h 254"/>
                <a:gd name="T44" fmla="*/ 42 w 254"/>
                <a:gd name="T45" fmla="*/ 32 h 254"/>
                <a:gd name="T46" fmla="*/ 52 w 254"/>
                <a:gd name="T47" fmla="*/ 65 h 254"/>
                <a:gd name="T48" fmla="*/ 39 w 254"/>
                <a:gd name="T49" fmla="*/ 86 h 254"/>
                <a:gd name="T50" fmla="*/ 6 w 254"/>
                <a:gd name="T51" fmla="*/ 90 h 254"/>
                <a:gd name="T52" fmla="*/ 0 w 254"/>
                <a:gd name="T53" fmla="*/ 120 h 254"/>
                <a:gd name="T54" fmla="*/ 30 w 254"/>
                <a:gd name="T55" fmla="*/ 136 h 254"/>
                <a:gd name="T56" fmla="*/ 35 w 254"/>
                <a:gd name="T57" fmla="*/ 159 h 254"/>
                <a:gd name="T58" fmla="*/ 15 w 254"/>
                <a:gd name="T59" fmla="*/ 186 h 254"/>
                <a:gd name="T60" fmla="*/ 32 w 254"/>
                <a:gd name="T61" fmla="*/ 211 h 254"/>
                <a:gd name="T62" fmla="*/ 64 w 254"/>
                <a:gd name="T63" fmla="*/ 201 h 254"/>
                <a:gd name="T64" fmla="*/ 85 w 254"/>
                <a:gd name="T65" fmla="*/ 214 h 254"/>
                <a:gd name="T66" fmla="*/ 93 w 254"/>
                <a:gd name="T67" fmla="*/ 160 h 254"/>
                <a:gd name="T68" fmla="*/ 79 w 254"/>
                <a:gd name="T69" fmla="*/ 126 h 254"/>
                <a:gd name="T70" fmla="*/ 81 w 254"/>
                <a:gd name="T71" fmla="*/ 114 h 254"/>
                <a:gd name="T72" fmla="*/ 128 w 254"/>
                <a:gd name="T73" fmla="*/ 79 h 254"/>
                <a:gd name="T74" fmla="*/ 175 w 254"/>
                <a:gd name="T75" fmla="*/ 128 h 254"/>
                <a:gd name="T76" fmla="*/ 173 w 254"/>
                <a:gd name="T77" fmla="*/ 139 h 254"/>
                <a:gd name="T78" fmla="*/ 173 w 254"/>
                <a:gd name="T79" fmla="*/ 139 h 254"/>
                <a:gd name="T80" fmla="*/ 126 w 254"/>
                <a:gd name="T81" fmla="*/ 174 h 254"/>
                <a:gd name="T82" fmla="*/ 93 w 254"/>
                <a:gd name="T83" fmla="*/ 16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4">
                  <a:moveTo>
                    <a:pt x="85" y="214"/>
                  </a:moveTo>
                  <a:cubicBezTo>
                    <a:pt x="90" y="248"/>
                    <a:pt x="90" y="248"/>
                    <a:pt x="90" y="248"/>
                  </a:cubicBezTo>
                  <a:cubicBezTo>
                    <a:pt x="120" y="254"/>
                    <a:pt x="120" y="254"/>
                    <a:pt x="120" y="254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144" y="223"/>
                    <a:pt x="152" y="221"/>
                    <a:pt x="160" y="218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1"/>
                    <a:pt x="212" y="221"/>
                    <a:pt x="212" y="221"/>
                  </a:cubicBezTo>
                  <a:cubicBezTo>
                    <a:pt x="202" y="188"/>
                    <a:pt x="202" y="188"/>
                    <a:pt x="202" y="188"/>
                  </a:cubicBezTo>
                  <a:cubicBezTo>
                    <a:pt x="207" y="182"/>
                    <a:pt x="211" y="175"/>
                    <a:pt x="215" y="168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34"/>
                    <a:pt x="254" y="134"/>
                    <a:pt x="254" y="134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3" y="109"/>
                    <a:pt x="221" y="102"/>
                    <a:pt x="218" y="94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2" y="42"/>
                    <a:pt x="222" y="42"/>
                    <a:pt x="222" y="42"/>
                  </a:cubicBezTo>
                  <a:cubicBezTo>
                    <a:pt x="189" y="52"/>
                    <a:pt x="189" y="52"/>
                    <a:pt x="189" y="52"/>
                  </a:cubicBezTo>
                  <a:cubicBezTo>
                    <a:pt x="183" y="47"/>
                    <a:pt x="176" y="43"/>
                    <a:pt x="169" y="39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0" y="31"/>
                    <a:pt x="102" y="33"/>
                    <a:pt x="94" y="3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47" y="71"/>
                    <a:pt x="43" y="78"/>
                    <a:pt x="39" y="86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44"/>
                    <a:pt x="33" y="152"/>
                    <a:pt x="35" y="159"/>
                  </a:cubicBezTo>
                  <a:cubicBezTo>
                    <a:pt x="15" y="186"/>
                    <a:pt x="15" y="186"/>
                    <a:pt x="15" y="186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1" y="206"/>
                    <a:pt x="78" y="211"/>
                    <a:pt x="85" y="214"/>
                  </a:cubicBezTo>
                  <a:close/>
                  <a:moveTo>
                    <a:pt x="93" y="160"/>
                  </a:moveTo>
                  <a:cubicBezTo>
                    <a:pt x="84" y="150"/>
                    <a:pt x="79" y="138"/>
                    <a:pt x="79" y="126"/>
                  </a:cubicBezTo>
                  <a:cubicBezTo>
                    <a:pt x="79" y="122"/>
                    <a:pt x="80" y="118"/>
                    <a:pt x="81" y="114"/>
                  </a:cubicBezTo>
                  <a:cubicBezTo>
                    <a:pt x="87" y="93"/>
                    <a:pt x="106" y="78"/>
                    <a:pt x="128" y="79"/>
                  </a:cubicBezTo>
                  <a:cubicBezTo>
                    <a:pt x="154" y="79"/>
                    <a:pt x="175" y="101"/>
                    <a:pt x="175" y="128"/>
                  </a:cubicBezTo>
                  <a:cubicBezTo>
                    <a:pt x="175" y="132"/>
                    <a:pt x="173" y="135"/>
                    <a:pt x="173" y="139"/>
                  </a:cubicBezTo>
                  <a:cubicBezTo>
                    <a:pt x="173" y="139"/>
                    <a:pt x="173" y="139"/>
                    <a:pt x="173" y="139"/>
                  </a:cubicBezTo>
                  <a:cubicBezTo>
                    <a:pt x="166" y="160"/>
                    <a:pt x="148" y="175"/>
                    <a:pt x="126" y="174"/>
                  </a:cubicBezTo>
                  <a:cubicBezTo>
                    <a:pt x="113" y="174"/>
                    <a:pt x="101" y="169"/>
                    <a:pt x="9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D7263296-45A0-4B10-904D-0CA951BB4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375" y="2338388"/>
              <a:ext cx="146050" cy="146050"/>
            </a:xfrm>
            <a:custGeom>
              <a:avLst/>
              <a:gdLst>
                <a:gd name="T0" fmla="*/ 0 w 65"/>
                <a:gd name="T1" fmla="*/ 32 h 65"/>
                <a:gd name="T2" fmla="*/ 2 w 65"/>
                <a:gd name="T3" fmla="*/ 24 h 65"/>
                <a:gd name="T4" fmla="*/ 34 w 65"/>
                <a:gd name="T5" fmla="*/ 0 h 65"/>
                <a:gd name="T6" fmla="*/ 65 w 65"/>
                <a:gd name="T7" fmla="*/ 33 h 65"/>
                <a:gd name="T8" fmla="*/ 63 w 65"/>
                <a:gd name="T9" fmla="*/ 41 h 65"/>
                <a:gd name="T10" fmla="*/ 63 w 65"/>
                <a:gd name="T11" fmla="*/ 41 h 65"/>
                <a:gd name="T12" fmla="*/ 32 w 65"/>
                <a:gd name="T13" fmla="*/ 65 h 65"/>
                <a:gd name="T14" fmla="*/ 9 w 65"/>
                <a:gd name="T15" fmla="*/ 55 h 65"/>
                <a:gd name="T16" fmla="*/ 0 w 65"/>
                <a:gd name="T17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5">
                  <a:moveTo>
                    <a:pt x="0" y="32"/>
                  </a:moveTo>
                  <a:cubicBezTo>
                    <a:pt x="0" y="29"/>
                    <a:pt x="1" y="27"/>
                    <a:pt x="2" y="24"/>
                  </a:cubicBezTo>
                  <a:cubicBezTo>
                    <a:pt x="5" y="10"/>
                    <a:pt x="19" y="0"/>
                    <a:pt x="34" y="0"/>
                  </a:cubicBezTo>
                  <a:cubicBezTo>
                    <a:pt x="52" y="1"/>
                    <a:pt x="65" y="15"/>
                    <a:pt x="65" y="33"/>
                  </a:cubicBezTo>
                  <a:cubicBezTo>
                    <a:pt x="65" y="36"/>
                    <a:pt x="64" y="38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59" y="55"/>
                    <a:pt x="47" y="65"/>
                    <a:pt x="32" y="65"/>
                  </a:cubicBezTo>
                  <a:cubicBezTo>
                    <a:pt x="23" y="65"/>
                    <a:pt x="15" y="61"/>
                    <a:pt x="9" y="55"/>
                  </a:cubicBezTo>
                  <a:cubicBezTo>
                    <a:pt x="3" y="49"/>
                    <a:pt x="0" y="41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915D27C-98EB-4887-9F50-FCC0C05D9A70}"/>
              </a:ext>
            </a:extLst>
          </p:cNvPr>
          <p:cNvGrpSpPr/>
          <p:nvPr/>
        </p:nvGrpSpPr>
        <p:grpSpPr>
          <a:xfrm>
            <a:off x="1895942" y="4944193"/>
            <a:ext cx="541927" cy="543437"/>
            <a:chOff x="2586038" y="5262563"/>
            <a:chExt cx="569913" cy="571500"/>
          </a:xfrm>
          <a:solidFill>
            <a:srgbClr val="DADFE1"/>
          </a:solidFill>
          <a:effectLst/>
        </p:grpSpPr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32D4E411-5770-418B-B360-F6EAAA9CC8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038" y="5262563"/>
              <a:ext cx="569913" cy="571500"/>
            </a:xfrm>
            <a:custGeom>
              <a:avLst/>
              <a:gdLst>
                <a:gd name="T0" fmla="*/ 20 w 255"/>
                <a:gd name="T1" fmla="*/ 59 h 255"/>
                <a:gd name="T2" fmla="*/ 39 w 255"/>
                <a:gd name="T3" fmla="*/ 87 h 255"/>
                <a:gd name="T4" fmla="*/ 31 w 255"/>
                <a:gd name="T5" fmla="*/ 111 h 255"/>
                <a:gd name="T6" fmla="*/ 0 w 255"/>
                <a:gd name="T7" fmla="*/ 124 h 255"/>
                <a:gd name="T8" fmla="*/ 3 w 255"/>
                <a:gd name="T9" fmla="*/ 155 h 255"/>
                <a:gd name="T10" fmla="*/ 36 w 255"/>
                <a:gd name="T11" fmla="*/ 162 h 255"/>
                <a:gd name="T12" fmla="*/ 48 w 255"/>
                <a:gd name="T13" fmla="*/ 183 h 255"/>
                <a:gd name="T14" fmla="*/ 35 w 255"/>
                <a:gd name="T15" fmla="*/ 215 h 255"/>
                <a:gd name="T16" fmla="*/ 58 w 255"/>
                <a:gd name="T17" fmla="*/ 234 h 255"/>
                <a:gd name="T18" fmla="*/ 86 w 255"/>
                <a:gd name="T19" fmla="*/ 216 h 255"/>
                <a:gd name="T20" fmla="*/ 110 w 255"/>
                <a:gd name="T21" fmla="*/ 223 h 255"/>
                <a:gd name="T22" fmla="*/ 123 w 255"/>
                <a:gd name="T23" fmla="*/ 255 h 255"/>
                <a:gd name="T24" fmla="*/ 154 w 255"/>
                <a:gd name="T25" fmla="*/ 252 h 255"/>
                <a:gd name="T26" fmla="*/ 161 w 255"/>
                <a:gd name="T27" fmla="*/ 219 h 255"/>
                <a:gd name="T28" fmla="*/ 183 w 255"/>
                <a:gd name="T29" fmla="*/ 207 h 255"/>
                <a:gd name="T30" fmla="*/ 215 w 255"/>
                <a:gd name="T31" fmla="*/ 220 h 255"/>
                <a:gd name="T32" fmla="*/ 234 w 255"/>
                <a:gd name="T33" fmla="*/ 196 h 255"/>
                <a:gd name="T34" fmla="*/ 216 w 255"/>
                <a:gd name="T35" fmla="*/ 167 h 255"/>
                <a:gd name="T36" fmla="*/ 223 w 255"/>
                <a:gd name="T37" fmla="*/ 144 h 255"/>
                <a:gd name="T38" fmla="*/ 255 w 255"/>
                <a:gd name="T39" fmla="*/ 131 h 255"/>
                <a:gd name="T40" fmla="*/ 252 w 255"/>
                <a:gd name="T41" fmla="*/ 101 h 255"/>
                <a:gd name="T42" fmla="*/ 218 w 255"/>
                <a:gd name="T43" fmla="*/ 93 h 255"/>
                <a:gd name="T44" fmla="*/ 207 w 255"/>
                <a:gd name="T45" fmla="*/ 72 h 255"/>
                <a:gd name="T46" fmla="*/ 220 w 255"/>
                <a:gd name="T47" fmla="*/ 40 h 255"/>
                <a:gd name="T48" fmla="*/ 197 w 255"/>
                <a:gd name="T49" fmla="*/ 21 h 255"/>
                <a:gd name="T50" fmla="*/ 168 w 255"/>
                <a:gd name="T51" fmla="*/ 39 h 255"/>
                <a:gd name="T52" fmla="*/ 144 w 255"/>
                <a:gd name="T53" fmla="*/ 32 h 255"/>
                <a:gd name="T54" fmla="*/ 131 w 255"/>
                <a:gd name="T55" fmla="*/ 0 h 255"/>
                <a:gd name="T56" fmla="*/ 101 w 255"/>
                <a:gd name="T57" fmla="*/ 3 h 255"/>
                <a:gd name="T58" fmla="*/ 94 w 255"/>
                <a:gd name="T59" fmla="*/ 37 h 255"/>
                <a:gd name="T60" fmla="*/ 71 w 255"/>
                <a:gd name="T61" fmla="*/ 48 h 255"/>
                <a:gd name="T62" fmla="*/ 40 w 255"/>
                <a:gd name="T63" fmla="*/ 35 h 255"/>
                <a:gd name="T64" fmla="*/ 20 w 255"/>
                <a:gd name="T65" fmla="*/ 59 h 255"/>
                <a:gd name="T66" fmla="*/ 174 w 255"/>
                <a:gd name="T67" fmla="*/ 116 h 255"/>
                <a:gd name="T68" fmla="*/ 175 w 255"/>
                <a:gd name="T69" fmla="*/ 128 h 255"/>
                <a:gd name="T70" fmla="*/ 139 w 255"/>
                <a:gd name="T71" fmla="*/ 174 h 255"/>
                <a:gd name="T72" fmla="*/ 103 w 255"/>
                <a:gd name="T73" fmla="*/ 169 h 255"/>
                <a:gd name="T74" fmla="*/ 81 w 255"/>
                <a:gd name="T75" fmla="*/ 139 h 255"/>
                <a:gd name="T76" fmla="*/ 79 w 255"/>
                <a:gd name="T77" fmla="*/ 128 h 255"/>
                <a:gd name="T78" fmla="*/ 116 w 255"/>
                <a:gd name="T79" fmla="*/ 81 h 255"/>
                <a:gd name="T80" fmla="*/ 174 w 255"/>
                <a:gd name="T81" fmla="*/ 116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5" h="255">
                  <a:moveTo>
                    <a:pt x="20" y="59"/>
                  </a:moveTo>
                  <a:cubicBezTo>
                    <a:pt x="39" y="87"/>
                    <a:pt x="39" y="87"/>
                    <a:pt x="39" y="87"/>
                  </a:cubicBezTo>
                  <a:cubicBezTo>
                    <a:pt x="35" y="95"/>
                    <a:pt x="33" y="103"/>
                    <a:pt x="31" y="111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3" y="155"/>
                    <a:pt x="3" y="155"/>
                    <a:pt x="3" y="155"/>
                  </a:cubicBezTo>
                  <a:cubicBezTo>
                    <a:pt x="36" y="162"/>
                    <a:pt x="36" y="162"/>
                    <a:pt x="36" y="162"/>
                  </a:cubicBezTo>
                  <a:cubicBezTo>
                    <a:pt x="39" y="169"/>
                    <a:pt x="43" y="177"/>
                    <a:pt x="48" y="183"/>
                  </a:cubicBezTo>
                  <a:cubicBezTo>
                    <a:pt x="35" y="215"/>
                    <a:pt x="35" y="215"/>
                    <a:pt x="35" y="215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86" y="216"/>
                    <a:pt x="86" y="216"/>
                    <a:pt x="86" y="216"/>
                  </a:cubicBezTo>
                  <a:cubicBezTo>
                    <a:pt x="94" y="219"/>
                    <a:pt x="102" y="222"/>
                    <a:pt x="110" y="223"/>
                  </a:cubicBezTo>
                  <a:cubicBezTo>
                    <a:pt x="123" y="255"/>
                    <a:pt x="123" y="255"/>
                    <a:pt x="123" y="255"/>
                  </a:cubicBezTo>
                  <a:cubicBezTo>
                    <a:pt x="154" y="252"/>
                    <a:pt x="154" y="252"/>
                    <a:pt x="154" y="252"/>
                  </a:cubicBezTo>
                  <a:cubicBezTo>
                    <a:pt x="161" y="219"/>
                    <a:pt x="161" y="219"/>
                    <a:pt x="161" y="219"/>
                  </a:cubicBezTo>
                  <a:cubicBezTo>
                    <a:pt x="169" y="216"/>
                    <a:pt x="177" y="212"/>
                    <a:pt x="183" y="207"/>
                  </a:cubicBezTo>
                  <a:cubicBezTo>
                    <a:pt x="215" y="220"/>
                    <a:pt x="215" y="220"/>
                    <a:pt x="215" y="22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16" y="167"/>
                    <a:pt x="216" y="167"/>
                    <a:pt x="216" y="167"/>
                  </a:cubicBezTo>
                  <a:cubicBezTo>
                    <a:pt x="219" y="160"/>
                    <a:pt x="221" y="152"/>
                    <a:pt x="223" y="144"/>
                  </a:cubicBezTo>
                  <a:cubicBezTo>
                    <a:pt x="255" y="131"/>
                    <a:pt x="255" y="131"/>
                    <a:pt x="255" y="131"/>
                  </a:cubicBezTo>
                  <a:cubicBezTo>
                    <a:pt x="252" y="101"/>
                    <a:pt x="252" y="101"/>
                    <a:pt x="252" y="101"/>
                  </a:cubicBezTo>
                  <a:cubicBezTo>
                    <a:pt x="218" y="93"/>
                    <a:pt x="218" y="93"/>
                    <a:pt x="218" y="93"/>
                  </a:cubicBezTo>
                  <a:cubicBezTo>
                    <a:pt x="215" y="86"/>
                    <a:pt x="211" y="78"/>
                    <a:pt x="207" y="72"/>
                  </a:cubicBezTo>
                  <a:cubicBezTo>
                    <a:pt x="220" y="40"/>
                    <a:pt x="220" y="40"/>
                    <a:pt x="220" y="40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68" y="39"/>
                    <a:pt x="168" y="39"/>
                    <a:pt x="168" y="39"/>
                  </a:cubicBezTo>
                  <a:cubicBezTo>
                    <a:pt x="160" y="36"/>
                    <a:pt x="152" y="33"/>
                    <a:pt x="144" y="32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85" y="40"/>
                    <a:pt x="78" y="43"/>
                    <a:pt x="71" y="48"/>
                  </a:cubicBezTo>
                  <a:cubicBezTo>
                    <a:pt x="40" y="35"/>
                    <a:pt x="40" y="35"/>
                    <a:pt x="40" y="35"/>
                  </a:cubicBezTo>
                  <a:lnTo>
                    <a:pt x="20" y="59"/>
                  </a:lnTo>
                  <a:close/>
                  <a:moveTo>
                    <a:pt x="174" y="116"/>
                  </a:moveTo>
                  <a:cubicBezTo>
                    <a:pt x="174" y="120"/>
                    <a:pt x="175" y="124"/>
                    <a:pt x="175" y="128"/>
                  </a:cubicBezTo>
                  <a:cubicBezTo>
                    <a:pt x="175" y="150"/>
                    <a:pt x="160" y="169"/>
                    <a:pt x="139" y="174"/>
                  </a:cubicBezTo>
                  <a:cubicBezTo>
                    <a:pt x="126" y="177"/>
                    <a:pt x="114" y="175"/>
                    <a:pt x="103" y="169"/>
                  </a:cubicBezTo>
                  <a:cubicBezTo>
                    <a:pt x="92" y="162"/>
                    <a:pt x="84" y="152"/>
                    <a:pt x="81" y="139"/>
                  </a:cubicBezTo>
                  <a:cubicBezTo>
                    <a:pt x="80" y="135"/>
                    <a:pt x="79" y="131"/>
                    <a:pt x="79" y="128"/>
                  </a:cubicBezTo>
                  <a:cubicBezTo>
                    <a:pt x="79" y="106"/>
                    <a:pt x="94" y="87"/>
                    <a:pt x="116" y="81"/>
                  </a:cubicBezTo>
                  <a:cubicBezTo>
                    <a:pt x="141" y="75"/>
                    <a:pt x="167" y="90"/>
                    <a:pt x="174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B31E7DDA-AEFD-465B-9C39-C63D599FF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5468938"/>
              <a:ext cx="144463" cy="153987"/>
            </a:xfrm>
            <a:custGeom>
              <a:avLst/>
              <a:gdLst>
                <a:gd name="T0" fmla="*/ 64 w 65"/>
                <a:gd name="T1" fmla="*/ 28 h 69"/>
                <a:gd name="T2" fmla="*/ 65 w 65"/>
                <a:gd name="T3" fmla="*/ 36 h 69"/>
                <a:gd name="T4" fmla="*/ 40 w 65"/>
                <a:gd name="T5" fmla="*/ 67 h 69"/>
                <a:gd name="T6" fmla="*/ 15 w 65"/>
                <a:gd name="T7" fmla="*/ 64 h 69"/>
                <a:gd name="T8" fmla="*/ 1 w 65"/>
                <a:gd name="T9" fmla="*/ 44 h 69"/>
                <a:gd name="T10" fmla="*/ 0 w 65"/>
                <a:gd name="T11" fmla="*/ 36 h 69"/>
                <a:gd name="T12" fmla="*/ 24 w 65"/>
                <a:gd name="T13" fmla="*/ 4 h 69"/>
                <a:gd name="T14" fmla="*/ 64 w 65"/>
                <a:gd name="T15" fmla="*/ 2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9">
                  <a:moveTo>
                    <a:pt x="64" y="28"/>
                  </a:moveTo>
                  <a:cubicBezTo>
                    <a:pt x="64" y="30"/>
                    <a:pt x="65" y="33"/>
                    <a:pt x="65" y="36"/>
                  </a:cubicBezTo>
                  <a:cubicBezTo>
                    <a:pt x="65" y="51"/>
                    <a:pt x="55" y="64"/>
                    <a:pt x="40" y="67"/>
                  </a:cubicBezTo>
                  <a:cubicBezTo>
                    <a:pt x="32" y="69"/>
                    <a:pt x="23" y="68"/>
                    <a:pt x="15" y="64"/>
                  </a:cubicBezTo>
                  <a:cubicBezTo>
                    <a:pt x="8" y="59"/>
                    <a:pt x="3" y="52"/>
                    <a:pt x="1" y="44"/>
                  </a:cubicBezTo>
                  <a:cubicBezTo>
                    <a:pt x="0" y="41"/>
                    <a:pt x="0" y="38"/>
                    <a:pt x="0" y="36"/>
                  </a:cubicBezTo>
                  <a:cubicBezTo>
                    <a:pt x="0" y="21"/>
                    <a:pt x="10" y="8"/>
                    <a:pt x="24" y="4"/>
                  </a:cubicBezTo>
                  <a:cubicBezTo>
                    <a:pt x="42" y="0"/>
                    <a:pt x="59" y="10"/>
                    <a:pt x="6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11D3D74-7DD9-4719-9704-325B276A6BEF}"/>
              </a:ext>
            </a:extLst>
          </p:cNvPr>
          <p:cNvGrpSpPr/>
          <p:nvPr/>
        </p:nvGrpSpPr>
        <p:grpSpPr>
          <a:xfrm>
            <a:off x="4830499" y="3439178"/>
            <a:ext cx="831759" cy="833269"/>
            <a:chOff x="5672138" y="3679825"/>
            <a:chExt cx="874713" cy="876300"/>
          </a:xfrm>
          <a:solidFill>
            <a:srgbClr val="DADFE1"/>
          </a:solidFill>
          <a:effectLst/>
        </p:grpSpPr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FA3150C9-8A85-44E0-BE29-CF11EEEB75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2138" y="3679825"/>
              <a:ext cx="874713" cy="876300"/>
            </a:xfrm>
            <a:custGeom>
              <a:avLst/>
              <a:gdLst>
                <a:gd name="T0" fmla="*/ 382 w 391"/>
                <a:gd name="T1" fmla="*/ 265 h 391"/>
                <a:gd name="T2" fmla="*/ 391 w 391"/>
                <a:gd name="T3" fmla="*/ 229 h 391"/>
                <a:gd name="T4" fmla="*/ 349 w 391"/>
                <a:gd name="T5" fmla="*/ 204 h 391"/>
                <a:gd name="T6" fmla="*/ 342 w 391"/>
                <a:gd name="T7" fmla="*/ 148 h 391"/>
                <a:gd name="T8" fmla="*/ 376 w 391"/>
                <a:gd name="T9" fmla="*/ 113 h 391"/>
                <a:gd name="T10" fmla="*/ 357 w 391"/>
                <a:gd name="T11" fmla="*/ 81 h 391"/>
                <a:gd name="T12" fmla="*/ 310 w 391"/>
                <a:gd name="T13" fmla="*/ 93 h 391"/>
                <a:gd name="T14" fmla="*/ 266 w 391"/>
                <a:gd name="T15" fmla="*/ 59 h 391"/>
                <a:gd name="T16" fmla="*/ 265 w 391"/>
                <a:gd name="T17" fmla="*/ 10 h 391"/>
                <a:gd name="T18" fmla="*/ 229 w 391"/>
                <a:gd name="T19" fmla="*/ 0 h 391"/>
                <a:gd name="T20" fmla="*/ 204 w 391"/>
                <a:gd name="T21" fmla="*/ 42 h 391"/>
                <a:gd name="T22" fmla="*/ 148 w 391"/>
                <a:gd name="T23" fmla="*/ 50 h 391"/>
                <a:gd name="T24" fmla="*/ 113 w 391"/>
                <a:gd name="T25" fmla="*/ 15 h 391"/>
                <a:gd name="T26" fmla="*/ 81 w 391"/>
                <a:gd name="T27" fmla="*/ 34 h 391"/>
                <a:gd name="T28" fmla="*/ 93 w 391"/>
                <a:gd name="T29" fmla="*/ 82 h 391"/>
                <a:gd name="T30" fmla="*/ 59 w 391"/>
                <a:gd name="T31" fmla="*/ 126 h 391"/>
                <a:gd name="T32" fmla="*/ 10 w 391"/>
                <a:gd name="T33" fmla="*/ 127 h 391"/>
                <a:gd name="T34" fmla="*/ 0 w 391"/>
                <a:gd name="T35" fmla="*/ 163 h 391"/>
                <a:gd name="T36" fmla="*/ 43 w 391"/>
                <a:gd name="T37" fmla="*/ 188 h 391"/>
                <a:gd name="T38" fmla="*/ 50 w 391"/>
                <a:gd name="T39" fmla="*/ 243 h 391"/>
                <a:gd name="T40" fmla="*/ 16 w 391"/>
                <a:gd name="T41" fmla="*/ 278 h 391"/>
                <a:gd name="T42" fmla="*/ 34 w 391"/>
                <a:gd name="T43" fmla="*/ 311 h 391"/>
                <a:gd name="T44" fmla="*/ 82 w 391"/>
                <a:gd name="T45" fmla="*/ 298 h 391"/>
                <a:gd name="T46" fmla="*/ 126 w 391"/>
                <a:gd name="T47" fmla="*/ 333 h 391"/>
                <a:gd name="T48" fmla="*/ 127 w 391"/>
                <a:gd name="T49" fmla="*/ 381 h 391"/>
                <a:gd name="T50" fmla="*/ 163 w 391"/>
                <a:gd name="T51" fmla="*/ 391 h 391"/>
                <a:gd name="T52" fmla="*/ 188 w 391"/>
                <a:gd name="T53" fmla="*/ 349 h 391"/>
                <a:gd name="T54" fmla="*/ 243 w 391"/>
                <a:gd name="T55" fmla="*/ 342 h 391"/>
                <a:gd name="T56" fmla="*/ 278 w 391"/>
                <a:gd name="T57" fmla="*/ 376 h 391"/>
                <a:gd name="T58" fmla="*/ 311 w 391"/>
                <a:gd name="T59" fmla="*/ 357 h 391"/>
                <a:gd name="T60" fmla="*/ 299 w 391"/>
                <a:gd name="T61" fmla="*/ 310 h 391"/>
                <a:gd name="T62" fmla="*/ 333 w 391"/>
                <a:gd name="T63" fmla="*/ 265 h 391"/>
                <a:gd name="T64" fmla="*/ 382 w 391"/>
                <a:gd name="T65" fmla="*/ 265 h 391"/>
                <a:gd name="T66" fmla="*/ 187 w 391"/>
                <a:gd name="T67" fmla="*/ 303 h 391"/>
                <a:gd name="T68" fmla="*/ 89 w 391"/>
                <a:gd name="T69" fmla="*/ 187 h 391"/>
                <a:gd name="T70" fmla="*/ 205 w 391"/>
                <a:gd name="T71" fmla="*/ 88 h 391"/>
                <a:gd name="T72" fmla="*/ 303 w 391"/>
                <a:gd name="T73" fmla="*/ 204 h 391"/>
                <a:gd name="T74" fmla="*/ 187 w 391"/>
                <a:gd name="T75" fmla="*/ 30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1" h="391">
                  <a:moveTo>
                    <a:pt x="382" y="265"/>
                  </a:moveTo>
                  <a:cubicBezTo>
                    <a:pt x="391" y="229"/>
                    <a:pt x="391" y="229"/>
                    <a:pt x="391" y="229"/>
                  </a:cubicBezTo>
                  <a:cubicBezTo>
                    <a:pt x="349" y="204"/>
                    <a:pt x="349" y="204"/>
                    <a:pt x="349" y="204"/>
                  </a:cubicBezTo>
                  <a:cubicBezTo>
                    <a:pt x="350" y="184"/>
                    <a:pt x="348" y="166"/>
                    <a:pt x="342" y="148"/>
                  </a:cubicBezTo>
                  <a:cubicBezTo>
                    <a:pt x="376" y="113"/>
                    <a:pt x="376" y="113"/>
                    <a:pt x="376" y="113"/>
                  </a:cubicBezTo>
                  <a:cubicBezTo>
                    <a:pt x="357" y="81"/>
                    <a:pt x="357" y="81"/>
                    <a:pt x="357" y="81"/>
                  </a:cubicBezTo>
                  <a:cubicBezTo>
                    <a:pt x="310" y="93"/>
                    <a:pt x="310" y="93"/>
                    <a:pt x="310" y="93"/>
                  </a:cubicBezTo>
                  <a:cubicBezTo>
                    <a:pt x="297" y="79"/>
                    <a:pt x="282" y="67"/>
                    <a:pt x="266" y="59"/>
                  </a:cubicBezTo>
                  <a:cubicBezTo>
                    <a:pt x="265" y="10"/>
                    <a:pt x="265" y="10"/>
                    <a:pt x="265" y="1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185" y="41"/>
                    <a:pt x="166" y="44"/>
                    <a:pt x="148" y="50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79" y="94"/>
                    <a:pt x="68" y="109"/>
                    <a:pt x="59" y="126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43" y="188"/>
                    <a:pt x="43" y="188"/>
                    <a:pt x="43" y="188"/>
                  </a:cubicBezTo>
                  <a:cubicBezTo>
                    <a:pt x="42" y="207"/>
                    <a:pt x="44" y="226"/>
                    <a:pt x="50" y="243"/>
                  </a:cubicBezTo>
                  <a:cubicBezTo>
                    <a:pt x="16" y="278"/>
                    <a:pt x="16" y="278"/>
                    <a:pt x="16" y="278"/>
                  </a:cubicBezTo>
                  <a:cubicBezTo>
                    <a:pt x="34" y="311"/>
                    <a:pt x="34" y="311"/>
                    <a:pt x="34" y="311"/>
                  </a:cubicBezTo>
                  <a:cubicBezTo>
                    <a:pt x="82" y="298"/>
                    <a:pt x="82" y="298"/>
                    <a:pt x="82" y="298"/>
                  </a:cubicBezTo>
                  <a:cubicBezTo>
                    <a:pt x="94" y="312"/>
                    <a:pt x="110" y="324"/>
                    <a:pt x="126" y="333"/>
                  </a:cubicBezTo>
                  <a:cubicBezTo>
                    <a:pt x="127" y="381"/>
                    <a:pt x="127" y="381"/>
                    <a:pt x="127" y="381"/>
                  </a:cubicBezTo>
                  <a:cubicBezTo>
                    <a:pt x="163" y="391"/>
                    <a:pt x="163" y="391"/>
                    <a:pt x="163" y="391"/>
                  </a:cubicBezTo>
                  <a:cubicBezTo>
                    <a:pt x="188" y="349"/>
                    <a:pt x="188" y="349"/>
                    <a:pt x="188" y="349"/>
                  </a:cubicBezTo>
                  <a:cubicBezTo>
                    <a:pt x="207" y="350"/>
                    <a:pt x="226" y="347"/>
                    <a:pt x="243" y="342"/>
                  </a:cubicBezTo>
                  <a:cubicBezTo>
                    <a:pt x="278" y="376"/>
                    <a:pt x="278" y="376"/>
                    <a:pt x="278" y="376"/>
                  </a:cubicBezTo>
                  <a:cubicBezTo>
                    <a:pt x="311" y="357"/>
                    <a:pt x="311" y="357"/>
                    <a:pt x="311" y="357"/>
                  </a:cubicBezTo>
                  <a:cubicBezTo>
                    <a:pt x="299" y="310"/>
                    <a:pt x="299" y="310"/>
                    <a:pt x="299" y="310"/>
                  </a:cubicBezTo>
                  <a:cubicBezTo>
                    <a:pt x="312" y="297"/>
                    <a:pt x="324" y="282"/>
                    <a:pt x="333" y="265"/>
                  </a:cubicBezTo>
                  <a:lnTo>
                    <a:pt x="382" y="265"/>
                  </a:lnTo>
                  <a:close/>
                  <a:moveTo>
                    <a:pt x="187" y="303"/>
                  </a:moveTo>
                  <a:cubicBezTo>
                    <a:pt x="128" y="298"/>
                    <a:pt x="84" y="246"/>
                    <a:pt x="89" y="187"/>
                  </a:cubicBezTo>
                  <a:cubicBezTo>
                    <a:pt x="94" y="128"/>
                    <a:pt x="145" y="84"/>
                    <a:pt x="205" y="88"/>
                  </a:cubicBezTo>
                  <a:cubicBezTo>
                    <a:pt x="264" y="93"/>
                    <a:pt x="308" y="145"/>
                    <a:pt x="303" y="204"/>
                  </a:cubicBezTo>
                  <a:cubicBezTo>
                    <a:pt x="298" y="264"/>
                    <a:pt x="247" y="308"/>
                    <a:pt x="187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27D048B9-2970-43E9-86B8-3446FD24DC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8525" y="3984625"/>
              <a:ext cx="265113" cy="263525"/>
            </a:xfrm>
            <a:custGeom>
              <a:avLst/>
              <a:gdLst>
                <a:gd name="T0" fmla="*/ 59 w 118"/>
                <a:gd name="T1" fmla="*/ 118 h 118"/>
                <a:gd name="T2" fmla="*/ 118 w 118"/>
                <a:gd name="T3" fmla="*/ 59 h 118"/>
                <a:gd name="T4" fmla="*/ 59 w 118"/>
                <a:gd name="T5" fmla="*/ 0 h 118"/>
                <a:gd name="T6" fmla="*/ 0 w 118"/>
                <a:gd name="T7" fmla="*/ 59 h 118"/>
                <a:gd name="T8" fmla="*/ 59 w 118"/>
                <a:gd name="T9" fmla="*/ 118 h 118"/>
                <a:gd name="T10" fmla="*/ 59 w 118"/>
                <a:gd name="T11" fmla="*/ 84 h 118"/>
                <a:gd name="T12" fmla="*/ 35 w 118"/>
                <a:gd name="T13" fmla="*/ 59 h 118"/>
                <a:gd name="T14" fmla="*/ 59 w 118"/>
                <a:gd name="T15" fmla="*/ 34 h 118"/>
                <a:gd name="T16" fmla="*/ 84 w 118"/>
                <a:gd name="T17" fmla="*/ 59 h 118"/>
                <a:gd name="T18" fmla="*/ 59 w 118"/>
                <a:gd name="T19" fmla="*/ 8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8">
                  <a:moveTo>
                    <a:pt x="59" y="118"/>
                  </a:moveTo>
                  <a:cubicBezTo>
                    <a:pt x="92" y="118"/>
                    <a:pt x="118" y="92"/>
                    <a:pt x="118" y="59"/>
                  </a:cubicBezTo>
                  <a:cubicBezTo>
                    <a:pt x="118" y="27"/>
                    <a:pt x="92" y="0"/>
                    <a:pt x="59" y="0"/>
                  </a:cubicBezTo>
                  <a:cubicBezTo>
                    <a:pt x="27" y="0"/>
                    <a:pt x="0" y="27"/>
                    <a:pt x="0" y="59"/>
                  </a:cubicBezTo>
                  <a:cubicBezTo>
                    <a:pt x="0" y="92"/>
                    <a:pt x="27" y="118"/>
                    <a:pt x="59" y="118"/>
                  </a:cubicBezTo>
                  <a:close/>
                  <a:moveTo>
                    <a:pt x="59" y="84"/>
                  </a:moveTo>
                  <a:cubicBezTo>
                    <a:pt x="46" y="84"/>
                    <a:pt x="35" y="73"/>
                    <a:pt x="35" y="59"/>
                  </a:cubicBezTo>
                  <a:cubicBezTo>
                    <a:pt x="35" y="46"/>
                    <a:pt x="46" y="34"/>
                    <a:pt x="59" y="34"/>
                  </a:cubicBezTo>
                  <a:cubicBezTo>
                    <a:pt x="73" y="34"/>
                    <a:pt x="84" y="46"/>
                    <a:pt x="84" y="59"/>
                  </a:cubicBezTo>
                  <a:cubicBezTo>
                    <a:pt x="84" y="73"/>
                    <a:pt x="73" y="84"/>
                    <a:pt x="59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18A3DE7-36D7-4A83-A7B3-D18BFD861D20}"/>
              </a:ext>
            </a:extLst>
          </p:cNvPr>
          <p:cNvGrpSpPr/>
          <p:nvPr/>
        </p:nvGrpSpPr>
        <p:grpSpPr>
          <a:xfrm>
            <a:off x="5511301" y="3030090"/>
            <a:ext cx="741186" cy="741186"/>
            <a:chOff x="6388100" y="3249613"/>
            <a:chExt cx="779463" cy="779462"/>
          </a:xfrm>
          <a:solidFill>
            <a:srgbClr val="DADFE1"/>
          </a:solidFill>
          <a:effectLst/>
        </p:grpSpPr>
        <p:sp>
          <p:nvSpPr>
            <p:cNvPr id="60" name="Freeform 30">
              <a:extLst>
                <a:ext uri="{FF2B5EF4-FFF2-40B4-BE49-F238E27FC236}">
                  <a16:creationId xmlns:a16="http://schemas.microsoft.com/office/drawing/2014/main" id="{2527C5EB-2C70-488D-8C1F-9C30C7115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8100" y="3249613"/>
              <a:ext cx="779463" cy="779462"/>
            </a:xfrm>
            <a:custGeom>
              <a:avLst/>
              <a:gdLst>
                <a:gd name="T0" fmla="*/ 337 w 348"/>
                <a:gd name="T1" fmla="*/ 251 h 348"/>
                <a:gd name="T2" fmla="*/ 348 w 348"/>
                <a:gd name="T3" fmla="*/ 219 h 348"/>
                <a:gd name="T4" fmla="*/ 312 w 348"/>
                <a:gd name="T5" fmla="*/ 193 h 348"/>
                <a:gd name="T6" fmla="*/ 310 w 348"/>
                <a:gd name="T7" fmla="*/ 142 h 348"/>
                <a:gd name="T8" fmla="*/ 343 w 348"/>
                <a:gd name="T9" fmla="*/ 113 h 348"/>
                <a:gd name="T10" fmla="*/ 329 w 348"/>
                <a:gd name="T11" fmla="*/ 83 h 348"/>
                <a:gd name="T12" fmla="*/ 285 w 348"/>
                <a:gd name="T13" fmla="*/ 90 h 348"/>
                <a:gd name="T14" fmla="*/ 248 w 348"/>
                <a:gd name="T15" fmla="*/ 56 h 348"/>
                <a:gd name="T16" fmla="*/ 251 w 348"/>
                <a:gd name="T17" fmla="*/ 12 h 348"/>
                <a:gd name="T18" fmla="*/ 219 w 348"/>
                <a:gd name="T19" fmla="*/ 0 h 348"/>
                <a:gd name="T20" fmla="*/ 193 w 348"/>
                <a:gd name="T21" fmla="*/ 37 h 348"/>
                <a:gd name="T22" fmla="*/ 142 w 348"/>
                <a:gd name="T23" fmla="*/ 39 h 348"/>
                <a:gd name="T24" fmla="*/ 113 w 348"/>
                <a:gd name="T25" fmla="*/ 6 h 348"/>
                <a:gd name="T26" fmla="*/ 83 w 348"/>
                <a:gd name="T27" fmla="*/ 20 h 348"/>
                <a:gd name="T28" fmla="*/ 90 w 348"/>
                <a:gd name="T29" fmla="*/ 64 h 348"/>
                <a:gd name="T30" fmla="*/ 56 w 348"/>
                <a:gd name="T31" fmla="*/ 101 h 348"/>
                <a:gd name="T32" fmla="*/ 12 w 348"/>
                <a:gd name="T33" fmla="*/ 98 h 348"/>
                <a:gd name="T34" fmla="*/ 0 w 348"/>
                <a:gd name="T35" fmla="*/ 130 h 348"/>
                <a:gd name="T36" fmla="*/ 37 w 348"/>
                <a:gd name="T37" fmla="*/ 156 h 348"/>
                <a:gd name="T38" fmla="*/ 39 w 348"/>
                <a:gd name="T39" fmla="*/ 207 h 348"/>
                <a:gd name="T40" fmla="*/ 6 w 348"/>
                <a:gd name="T41" fmla="*/ 236 h 348"/>
                <a:gd name="T42" fmla="*/ 20 w 348"/>
                <a:gd name="T43" fmla="*/ 266 h 348"/>
                <a:gd name="T44" fmla="*/ 64 w 348"/>
                <a:gd name="T45" fmla="*/ 259 h 348"/>
                <a:gd name="T46" fmla="*/ 102 w 348"/>
                <a:gd name="T47" fmla="*/ 293 h 348"/>
                <a:gd name="T48" fmla="*/ 99 w 348"/>
                <a:gd name="T49" fmla="*/ 337 h 348"/>
                <a:gd name="T50" fmla="*/ 130 w 348"/>
                <a:gd name="T51" fmla="*/ 348 h 348"/>
                <a:gd name="T52" fmla="*/ 156 w 348"/>
                <a:gd name="T53" fmla="*/ 312 h 348"/>
                <a:gd name="T54" fmla="*/ 206 w 348"/>
                <a:gd name="T55" fmla="*/ 310 h 348"/>
                <a:gd name="T56" fmla="*/ 236 w 348"/>
                <a:gd name="T57" fmla="*/ 343 h 348"/>
                <a:gd name="T58" fmla="*/ 266 w 348"/>
                <a:gd name="T59" fmla="*/ 329 h 348"/>
                <a:gd name="T60" fmla="*/ 259 w 348"/>
                <a:gd name="T61" fmla="*/ 285 h 348"/>
                <a:gd name="T62" fmla="*/ 293 w 348"/>
                <a:gd name="T63" fmla="*/ 248 h 348"/>
                <a:gd name="T64" fmla="*/ 337 w 348"/>
                <a:gd name="T65" fmla="*/ 251 h 348"/>
                <a:gd name="T66" fmla="*/ 159 w 348"/>
                <a:gd name="T67" fmla="*/ 271 h 348"/>
                <a:gd name="T68" fmla="*/ 78 w 348"/>
                <a:gd name="T69" fmla="*/ 159 h 348"/>
                <a:gd name="T70" fmla="*/ 190 w 348"/>
                <a:gd name="T71" fmla="*/ 78 h 348"/>
                <a:gd name="T72" fmla="*/ 271 w 348"/>
                <a:gd name="T73" fmla="*/ 190 h 348"/>
                <a:gd name="T74" fmla="*/ 159 w 348"/>
                <a:gd name="T75" fmla="*/ 27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348">
                  <a:moveTo>
                    <a:pt x="337" y="251"/>
                  </a:moveTo>
                  <a:cubicBezTo>
                    <a:pt x="348" y="219"/>
                    <a:pt x="348" y="219"/>
                    <a:pt x="348" y="219"/>
                  </a:cubicBezTo>
                  <a:cubicBezTo>
                    <a:pt x="312" y="193"/>
                    <a:pt x="312" y="193"/>
                    <a:pt x="312" y="193"/>
                  </a:cubicBezTo>
                  <a:cubicBezTo>
                    <a:pt x="315" y="176"/>
                    <a:pt x="314" y="159"/>
                    <a:pt x="310" y="142"/>
                  </a:cubicBezTo>
                  <a:cubicBezTo>
                    <a:pt x="343" y="113"/>
                    <a:pt x="343" y="113"/>
                    <a:pt x="343" y="113"/>
                  </a:cubicBezTo>
                  <a:cubicBezTo>
                    <a:pt x="329" y="83"/>
                    <a:pt x="329" y="83"/>
                    <a:pt x="329" y="83"/>
                  </a:cubicBezTo>
                  <a:cubicBezTo>
                    <a:pt x="285" y="90"/>
                    <a:pt x="285" y="90"/>
                    <a:pt x="285" y="90"/>
                  </a:cubicBezTo>
                  <a:cubicBezTo>
                    <a:pt x="275" y="77"/>
                    <a:pt x="262" y="65"/>
                    <a:pt x="248" y="56"/>
                  </a:cubicBezTo>
                  <a:cubicBezTo>
                    <a:pt x="251" y="12"/>
                    <a:pt x="251" y="12"/>
                    <a:pt x="251" y="12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193" y="37"/>
                    <a:pt x="193" y="37"/>
                    <a:pt x="193" y="37"/>
                  </a:cubicBezTo>
                  <a:cubicBezTo>
                    <a:pt x="176" y="34"/>
                    <a:pt x="159" y="35"/>
                    <a:pt x="142" y="39"/>
                  </a:cubicBezTo>
                  <a:cubicBezTo>
                    <a:pt x="113" y="6"/>
                    <a:pt x="113" y="6"/>
                    <a:pt x="113" y="6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77" y="74"/>
                    <a:pt x="65" y="87"/>
                    <a:pt x="56" y="101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37" y="156"/>
                    <a:pt x="37" y="156"/>
                    <a:pt x="37" y="156"/>
                  </a:cubicBezTo>
                  <a:cubicBezTo>
                    <a:pt x="34" y="173"/>
                    <a:pt x="35" y="190"/>
                    <a:pt x="39" y="207"/>
                  </a:cubicBezTo>
                  <a:cubicBezTo>
                    <a:pt x="6" y="236"/>
                    <a:pt x="6" y="236"/>
                    <a:pt x="6" y="236"/>
                  </a:cubicBezTo>
                  <a:cubicBezTo>
                    <a:pt x="20" y="266"/>
                    <a:pt x="20" y="266"/>
                    <a:pt x="20" y="266"/>
                  </a:cubicBezTo>
                  <a:cubicBezTo>
                    <a:pt x="64" y="259"/>
                    <a:pt x="64" y="259"/>
                    <a:pt x="64" y="259"/>
                  </a:cubicBezTo>
                  <a:cubicBezTo>
                    <a:pt x="74" y="272"/>
                    <a:pt x="87" y="284"/>
                    <a:pt x="102" y="293"/>
                  </a:cubicBezTo>
                  <a:cubicBezTo>
                    <a:pt x="99" y="337"/>
                    <a:pt x="99" y="337"/>
                    <a:pt x="99" y="337"/>
                  </a:cubicBezTo>
                  <a:cubicBezTo>
                    <a:pt x="130" y="348"/>
                    <a:pt x="130" y="348"/>
                    <a:pt x="130" y="348"/>
                  </a:cubicBezTo>
                  <a:cubicBezTo>
                    <a:pt x="156" y="312"/>
                    <a:pt x="156" y="312"/>
                    <a:pt x="156" y="312"/>
                  </a:cubicBezTo>
                  <a:cubicBezTo>
                    <a:pt x="173" y="315"/>
                    <a:pt x="190" y="314"/>
                    <a:pt x="206" y="310"/>
                  </a:cubicBezTo>
                  <a:cubicBezTo>
                    <a:pt x="236" y="343"/>
                    <a:pt x="236" y="343"/>
                    <a:pt x="236" y="343"/>
                  </a:cubicBezTo>
                  <a:cubicBezTo>
                    <a:pt x="266" y="329"/>
                    <a:pt x="266" y="329"/>
                    <a:pt x="266" y="329"/>
                  </a:cubicBezTo>
                  <a:cubicBezTo>
                    <a:pt x="259" y="285"/>
                    <a:pt x="259" y="285"/>
                    <a:pt x="259" y="285"/>
                  </a:cubicBezTo>
                  <a:cubicBezTo>
                    <a:pt x="272" y="275"/>
                    <a:pt x="284" y="262"/>
                    <a:pt x="293" y="248"/>
                  </a:cubicBezTo>
                  <a:lnTo>
                    <a:pt x="337" y="251"/>
                  </a:lnTo>
                  <a:close/>
                  <a:moveTo>
                    <a:pt x="159" y="271"/>
                  </a:moveTo>
                  <a:cubicBezTo>
                    <a:pt x="106" y="262"/>
                    <a:pt x="70" y="212"/>
                    <a:pt x="78" y="159"/>
                  </a:cubicBezTo>
                  <a:cubicBezTo>
                    <a:pt x="87" y="106"/>
                    <a:pt x="137" y="70"/>
                    <a:pt x="190" y="78"/>
                  </a:cubicBezTo>
                  <a:cubicBezTo>
                    <a:pt x="243" y="87"/>
                    <a:pt x="279" y="137"/>
                    <a:pt x="271" y="190"/>
                  </a:cubicBezTo>
                  <a:cubicBezTo>
                    <a:pt x="262" y="243"/>
                    <a:pt x="212" y="279"/>
                    <a:pt x="15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1" name="Freeform 31">
              <a:extLst>
                <a:ext uri="{FF2B5EF4-FFF2-40B4-BE49-F238E27FC236}">
                  <a16:creationId xmlns:a16="http://schemas.microsoft.com/office/drawing/2014/main" id="{25D13600-7C63-4E00-BE64-78E3EC6761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4800" y="3514725"/>
              <a:ext cx="250825" cy="250825"/>
            </a:xfrm>
            <a:custGeom>
              <a:avLst/>
              <a:gdLst>
                <a:gd name="T0" fmla="*/ 51 w 112"/>
                <a:gd name="T1" fmla="*/ 109 h 112"/>
                <a:gd name="T2" fmla="*/ 109 w 112"/>
                <a:gd name="T3" fmla="*/ 60 h 112"/>
                <a:gd name="T4" fmla="*/ 60 w 112"/>
                <a:gd name="T5" fmla="*/ 3 h 112"/>
                <a:gd name="T6" fmla="*/ 2 w 112"/>
                <a:gd name="T7" fmla="*/ 52 h 112"/>
                <a:gd name="T8" fmla="*/ 51 w 112"/>
                <a:gd name="T9" fmla="*/ 109 h 112"/>
                <a:gd name="T10" fmla="*/ 54 w 112"/>
                <a:gd name="T11" fmla="*/ 78 h 112"/>
                <a:gd name="T12" fmla="*/ 34 w 112"/>
                <a:gd name="T13" fmla="*/ 54 h 112"/>
                <a:gd name="T14" fmla="*/ 58 w 112"/>
                <a:gd name="T15" fmla="*/ 34 h 112"/>
                <a:gd name="T16" fmla="*/ 78 w 112"/>
                <a:gd name="T17" fmla="*/ 58 h 112"/>
                <a:gd name="T18" fmla="*/ 54 w 112"/>
                <a:gd name="T19" fmla="*/ 7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1" y="109"/>
                  </a:moveTo>
                  <a:cubicBezTo>
                    <a:pt x="81" y="112"/>
                    <a:pt x="107" y="90"/>
                    <a:pt x="109" y="60"/>
                  </a:cubicBezTo>
                  <a:cubicBezTo>
                    <a:pt x="112" y="31"/>
                    <a:pt x="90" y="5"/>
                    <a:pt x="60" y="3"/>
                  </a:cubicBezTo>
                  <a:cubicBezTo>
                    <a:pt x="31" y="0"/>
                    <a:pt x="5" y="22"/>
                    <a:pt x="2" y="52"/>
                  </a:cubicBezTo>
                  <a:cubicBezTo>
                    <a:pt x="0" y="81"/>
                    <a:pt x="22" y="107"/>
                    <a:pt x="51" y="109"/>
                  </a:cubicBezTo>
                  <a:close/>
                  <a:moveTo>
                    <a:pt x="54" y="78"/>
                  </a:moveTo>
                  <a:cubicBezTo>
                    <a:pt x="42" y="77"/>
                    <a:pt x="33" y="66"/>
                    <a:pt x="34" y="54"/>
                  </a:cubicBezTo>
                  <a:cubicBezTo>
                    <a:pt x="35" y="42"/>
                    <a:pt x="45" y="33"/>
                    <a:pt x="58" y="34"/>
                  </a:cubicBezTo>
                  <a:cubicBezTo>
                    <a:pt x="70" y="35"/>
                    <a:pt x="79" y="46"/>
                    <a:pt x="78" y="58"/>
                  </a:cubicBezTo>
                  <a:cubicBezTo>
                    <a:pt x="77" y="70"/>
                    <a:pt x="66" y="79"/>
                    <a:pt x="54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C8EE7DC-7AE4-47F2-9CBF-F66ABC8B5008}"/>
              </a:ext>
            </a:extLst>
          </p:cNvPr>
          <p:cNvGrpSpPr/>
          <p:nvPr/>
        </p:nvGrpSpPr>
        <p:grpSpPr>
          <a:xfrm>
            <a:off x="3853823" y="3796940"/>
            <a:ext cx="831759" cy="833269"/>
            <a:chOff x="4645025" y="4056063"/>
            <a:chExt cx="874713" cy="876300"/>
          </a:xfrm>
          <a:solidFill>
            <a:srgbClr val="DADFE1"/>
          </a:solidFill>
          <a:effectLst/>
        </p:grpSpPr>
        <p:sp>
          <p:nvSpPr>
            <p:cNvPr id="63" name="Freeform 32">
              <a:extLst>
                <a:ext uri="{FF2B5EF4-FFF2-40B4-BE49-F238E27FC236}">
                  <a16:creationId xmlns:a16="http://schemas.microsoft.com/office/drawing/2014/main" id="{4A914EDE-4DA5-4055-8DE4-9EE282124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4056063"/>
              <a:ext cx="874713" cy="876300"/>
            </a:xfrm>
            <a:custGeom>
              <a:avLst/>
              <a:gdLst>
                <a:gd name="T0" fmla="*/ 381 w 391"/>
                <a:gd name="T1" fmla="*/ 264 h 391"/>
                <a:gd name="T2" fmla="*/ 391 w 391"/>
                <a:gd name="T3" fmla="*/ 228 h 391"/>
                <a:gd name="T4" fmla="*/ 348 w 391"/>
                <a:gd name="T5" fmla="*/ 203 h 391"/>
                <a:gd name="T6" fmla="*/ 341 w 391"/>
                <a:gd name="T7" fmla="*/ 147 h 391"/>
                <a:gd name="T8" fmla="*/ 375 w 391"/>
                <a:gd name="T9" fmla="*/ 112 h 391"/>
                <a:gd name="T10" fmla="*/ 357 w 391"/>
                <a:gd name="T11" fmla="*/ 80 h 391"/>
                <a:gd name="T12" fmla="*/ 309 w 391"/>
                <a:gd name="T13" fmla="*/ 92 h 391"/>
                <a:gd name="T14" fmla="*/ 265 w 391"/>
                <a:gd name="T15" fmla="*/ 58 h 391"/>
                <a:gd name="T16" fmla="*/ 264 w 391"/>
                <a:gd name="T17" fmla="*/ 9 h 391"/>
                <a:gd name="T18" fmla="*/ 228 w 391"/>
                <a:gd name="T19" fmla="*/ 0 h 391"/>
                <a:gd name="T20" fmla="*/ 203 w 391"/>
                <a:gd name="T21" fmla="*/ 42 h 391"/>
                <a:gd name="T22" fmla="*/ 148 w 391"/>
                <a:gd name="T23" fmla="*/ 49 h 391"/>
                <a:gd name="T24" fmla="*/ 112 w 391"/>
                <a:gd name="T25" fmla="*/ 15 h 391"/>
                <a:gd name="T26" fmla="*/ 80 w 391"/>
                <a:gd name="T27" fmla="*/ 33 h 391"/>
                <a:gd name="T28" fmla="*/ 92 w 391"/>
                <a:gd name="T29" fmla="*/ 81 h 391"/>
                <a:gd name="T30" fmla="*/ 58 w 391"/>
                <a:gd name="T31" fmla="*/ 125 h 391"/>
                <a:gd name="T32" fmla="*/ 9 w 391"/>
                <a:gd name="T33" fmla="*/ 126 h 391"/>
                <a:gd name="T34" fmla="*/ 0 w 391"/>
                <a:gd name="T35" fmla="*/ 162 h 391"/>
                <a:gd name="T36" fmla="*/ 42 w 391"/>
                <a:gd name="T37" fmla="*/ 187 h 391"/>
                <a:gd name="T38" fmla="*/ 49 w 391"/>
                <a:gd name="T39" fmla="*/ 243 h 391"/>
                <a:gd name="T40" fmla="*/ 15 w 391"/>
                <a:gd name="T41" fmla="*/ 278 h 391"/>
                <a:gd name="T42" fmla="*/ 34 w 391"/>
                <a:gd name="T43" fmla="*/ 310 h 391"/>
                <a:gd name="T44" fmla="*/ 81 w 391"/>
                <a:gd name="T45" fmla="*/ 298 h 391"/>
                <a:gd name="T46" fmla="*/ 126 w 391"/>
                <a:gd name="T47" fmla="*/ 332 h 391"/>
                <a:gd name="T48" fmla="*/ 126 w 391"/>
                <a:gd name="T49" fmla="*/ 381 h 391"/>
                <a:gd name="T50" fmla="*/ 162 w 391"/>
                <a:gd name="T51" fmla="*/ 391 h 391"/>
                <a:gd name="T52" fmla="*/ 187 w 391"/>
                <a:gd name="T53" fmla="*/ 348 h 391"/>
                <a:gd name="T54" fmla="*/ 243 w 391"/>
                <a:gd name="T55" fmla="*/ 341 h 391"/>
                <a:gd name="T56" fmla="*/ 278 w 391"/>
                <a:gd name="T57" fmla="*/ 375 h 391"/>
                <a:gd name="T58" fmla="*/ 310 w 391"/>
                <a:gd name="T59" fmla="*/ 357 h 391"/>
                <a:gd name="T60" fmla="*/ 298 w 391"/>
                <a:gd name="T61" fmla="*/ 309 h 391"/>
                <a:gd name="T62" fmla="*/ 332 w 391"/>
                <a:gd name="T63" fmla="*/ 265 h 391"/>
                <a:gd name="T64" fmla="*/ 381 w 391"/>
                <a:gd name="T65" fmla="*/ 264 h 391"/>
                <a:gd name="T66" fmla="*/ 187 w 391"/>
                <a:gd name="T67" fmla="*/ 302 h 391"/>
                <a:gd name="T68" fmla="*/ 88 w 391"/>
                <a:gd name="T69" fmla="*/ 186 h 391"/>
                <a:gd name="T70" fmla="*/ 204 w 391"/>
                <a:gd name="T71" fmla="*/ 88 h 391"/>
                <a:gd name="T72" fmla="*/ 302 w 391"/>
                <a:gd name="T73" fmla="*/ 204 h 391"/>
                <a:gd name="T74" fmla="*/ 187 w 391"/>
                <a:gd name="T75" fmla="*/ 30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1" h="391">
                  <a:moveTo>
                    <a:pt x="381" y="264"/>
                  </a:moveTo>
                  <a:cubicBezTo>
                    <a:pt x="391" y="228"/>
                    <a:pt x="391" y="228"/>
                    <a:pt x="391" y="228"/>
                  </a:cubicBezTo>
                  <a:cubicBezTo>
                    <a:pt x="348" y="203"/>
                    <a:pt x="348" y="203"/>
                    <a:pt x="348" y="203"/>
                  </a:cubicBezTo>
                  <a:cubicBezTo>
                    <a:pt x="350" y="184"/>
                    <a:pt x="347" y="165"/>
                    <a:pt x="341" y="147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57" y="80"/>
                    <a:pt x="357" y="80"/>
                    <a:pt x="357" y="80"/>
                  </a:cubicBezTo>
                  <a:cubicBezTo>
                    <a:pt x="309" y="92"/>
                    <a:pt x="309" y="92"/>
                    <a:pt x="309" y="92"/>
                  </a:cubicBezTo>
                  <a:cubicBezTo>
                    <a:pt x="297" y="78"/>
                    <a:pt x="282" y="67"/>
                    <a:pt x="265" y="58"/>
                  </a:cubicBezTo>
                  <a:cubicBezTo>
                    <a:pt x="264" y="9"/>
                    <a:pt x="264" y="9"/>
                    <a:pt x="264" y="9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203" y="42"/>
                    <a:pt x="203" y="42"/>
                    <a:pt x="203" y="42"/>
                  </a:cubicBezTo>
                  <a:cubicBezTo>
                    <a:pt x="184" y="41"/>
                    <a:pt x="165" y="43"/>
                    <a:pt x="148" y="49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79" y="94"/>
                    <a:pt x="67" y="109"/>
                    <a:pt x="58" y="125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1" y="206"/>
                    <a:pt x="43" y="225"/>
                    <a:pt x="49" y="243"/>
                  </a:cubicBezTo>
                  <a:cubicBezTo>
                    <a:pt x="15" y="278"/>
                    <a:pt x="15" y="278"/>
                    <a:pt x="15" y="278"/>
                  </a:cubicBezTo>
                  <a:cubicBezTo>
                    <a:pt x="34" y="310"/>
                    <a:pt x="34" y="310"/>
                    <a:pt x="34" y="310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94" y="312"/>
                    <a:pt x="109" y="323"/>
                    <a:pt x="126" y="332"/>
                  </a:cubicBezTo>
                  <a:cubicBezTo>
                    <a:pt x="126" y="381"/>
                    <a:pt x="126" y="381"/>
                    <a:pt x="126" y="381"/>
                  </a:cubicBezTo>
                  <a:cubicBezTo>
                    <a:pt x="162" y="391"/>
                    <a:pt x="162" y="391"/>
                    <a:pt x="162" y="391"/>
                  </a:cubicBezTo>
                  <a:cubicBezTo>
                    <a:pt x="187" y="348"/>
                    <a:pt x="187" y="348"/>
                    <a:pt x="187" y="348"/>
                  </a:cubicBezTo>
                  <a:cubicBezTo>
                    <a:pt x="207" y="349"/>
                    <a:pt x="225" y="347"/>
                    <a:pt x="243" y="341"/>
                  </a:cubicBezTo>
                  <a:cubicBezTo>
                    <a:pt x="278" y="375"/>
                    <a:pt x="278" y="375"/>
                    <a:pt x="278" y="375"/>
                  </a:cubicBezTo>
                  <a:cubicBezTo>
                    <a:pt x="310" y="357"/>
                    <a:pt x="310" y="357"/>
                    <a:pt x="310" y="357"/>
                  </a:cubicBezTo>
                  <a:cubicBezTo>
                    <a:pt x="298" y="309"/>
                    <a:pt x="298" y="309"/>
                    <a:pt x="298" y="309"/>
                  </a:cubicBezTo>
                  <a:cubicBezTo>
                    <a:pt x="312" y="297"/>
                    <a:pt x="323" y="282"/>
                    <a:pt x="332" y="265"/>
                  </a:cubicBezTo>
                  <a:lnTo>
                    <a:pt x="381" y="264"/>
                  </a:lnTo>
                  <a:close/>
                  <a:moveTo>
                    <a:pt x="187" y="302"/>
                  </a:moveTo>
                  <a:cubicBezTo>
                    <a:pt x="127" y="298"/>
                    <a:pt x="83" y="246"/>
                    <a:pt x="88" y="186"/>
                  </a:cubicBezTo>
                  <a:cubicBezTo>
                    <a:pt x="93" y="127"/>
                    <a:pt x="145" y="83"/>
                    <a:pt x="204" y="88"/>
                  </a:cubicBezTo>
                  <a:cubicBezTo>
                    <a:pt x="263" y="93"/>
                    <a:pt x="307" y="145"/>
                    <a:pt x="302" y="204"/>
                  </a:cubicBezTo>
                  <a:cubicBezTo>
                    <a:pt x="298" y="263"/>
                    <a:pt x="246" y="307"/>
                    <a:pt x="187" y="3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33">
              <a:extLst>
                <a:ext uri="{FF2B5EF4-FFF2-40B4-BE49-F238E27FC236}">
                  <a16:creationId xmlns:a16="http://schemas.microsoft.com/office/drawing/2014/main" id="{7F2C48C4-5A4F-47BA-B29A-57020CD4A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9825" y="4359275"/>
              <a:ext cx="265113" cy="265112"/>
            </a:xfrm>
            <a:custGeom>
              <a:avLst/>
              <a:gdLst>
                <a:gd name="T0" fmla="*/ 60 w 119"/>
                <a:gd name="T1" fmla="*/ 119 h 119"/>
                <a:gd name="T2" fmla="*/ 119 w 119"/>
                <a:gd name="T3" fmla="*/ 60 h 119"/>
                <a:gd name="T4" fmla="*/ 60 w 119"/>
                <a:gd name="T5" fmla="*/ 0 h 119"/>
                <a:gd name="T6" fmla="*/ 0 w 119"/>
                <a:gd name="T7" fmla="*/ 60 h 119"/>
                <a:gd name="T8" fmla="*/ 60 w 119"/>
                <a:gd name="T9" fmla="*/ 119 h 119"/>
                <a:gd name="T10" fmla="*/ 60 w 119"/>
                <a:gd name="T11" fmla="*/ 84 h 119"/>
                <a:gd name="T12" fmla="*/ 35 w 119"/>
                <a:gd name="T13" fmla="*/ 60 h 119"/>
                <a:gd name="T14" fmla="*/ 60 w 119"/>
                <a:gd name="T15" fmla="*/ 35 h 119"/>
                <a:gd name="T16" fmla="*/ 84 w 119"/>
                <a:gd name="T17" fmla="*/ 60 h 119"/>
                <a:gd name="T18" fmla="*/ 60 w 119"/>
                <a:gd name="T19" fmla="*/ 8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119"/>
                  </a:moveTo>
                  <a:cubicBezTo>
                    <a:pt x="92" y="119"/>
                    <a:pt x="119" y="92"/>
                    <a:pt x="119" y="60"/>
                  </a:cubicBezTo>
                  <a:cubicBezTo>
                    <a:pt x="119" y="27"/>
                    <a:pt x="92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92"/>
                    <a:pt x="27" y="119"/>
                    <a:pt x="60" y="119"/>
                  </a:cubicBezTo>
                  <a:close/>
                  <a:moveTo>
                    <a:pt x="60" y="84"/>
                  </a:moveTo>
                  <a:cubicBezTo>
                    <a:pt x="46" y="84"/>
                    <a:pt x="35" y="73"/>
                    <a:pt x="35" y="60"/>
                  </a:cubicBezTo>
                  <a:cubicBezTo>
                    <a:pt x="35" y="46"/>
                    <a:pt x="46" y="35"/>
                    <a:pt x="60" y="35"/>
                  </a:cubicBezTo>
                  <a:cubicBezTo>
                    <a:pt x="73" y="35"/>
                    <a:pt x="84" y="46"/>
                    <a:pt x="84" y="60"/>
                  </a:cubicBezTo>
                  <a:cubicBezTo>
                    <a:pt x="84" y="73"/>
                    <a:pt x="73" y="84"/>
                    <a:pt x="6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3F60AE8-F4F8-418A-9B9E-CEA1C5ECD246}"/>
              </a:ext>
            </a:extLst>
          </p:cNvPr>
          <p:cNvGrpSpPr/>
          <p:nvPr/>
        </p:nvGrpSpPr>
        <p:grpSpPr>
          <a:xfrm>
            <a:off x="1009842" y="3609757"/>
            <a:ext cx="374367" cy="372858"/>
            <a:chOff x="1654175" y="3859213"/>
            <a:chExt cx="393700" cy="392112"/>
          </a:xfrm>
          <a:solidFill>
            <a:srgbClr val="DADFE1"/>
          </a:solidFill>
          <a:effectLst/>
        </p:grpSpPr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79D3C4FA-E531-4F48-98A7-C1F0485AEB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175" y="3859213"/>
              <a:ext cx="393700" cy="392112"/>
            </a:xfrm>
            <a:custGeom>
              <a:avLst/>
              <a:gdLst>
                <a:gd name="T0" fmla="*/ 171 w 176"/>
                <a:gd name="T1" fmla="*/ 119 h 175"/>
                <a:gd name="T2" fmla="*/ 176 w 176"/>
                <a:gd name="T3" fmla="*/ 102 h 175"/>
                <a:gd name="T4" fmla="*/ 157 w 176"/>
                <a:gd name="T5" fmla="*/ 91 h 175"/>
                <a:gd name="T6" fmla="*/ 154 w 176"/>
                <a:gd name="T7" fmla="*/ 66 h 175"/>
                <a:gd name="T8" fmla="*/ 169 w 176"/>
                <a:gd name="T9" fmla="*/ 50 h 175"/>
                <a:gd name="T10" fmla="*/ 161 w 176"/>
                <a:gd name="T11" fmla="*/ 36 h 175"/>
                <a:gd name="T12" fmla="*/ 139 w 176"/>
                <a:gd name="T13" fmla="*/ 41 h 175"/>
                <a:gd name="T14" fmla="*/ 119 w 176"/>
                <a:gd name="T15" fmla="*/ 26 h 175"/>
                <a:gd name="T16" fmla="*/ 119 w 176"/>
                <a:gd name="T17" fmla="*/ 4 h 175"/>
                <a:gd name="T18" fmla="*/ 103 w 176"/>
                <a:gd name="T19" fmla="*/ 0 h 175"/>
                <a:gd name="T20" fmla="*/ 92 w 176"/>
                <a:gd name="T21" fmla="*/ 19 h 175"/>
                <a:gd name="T22" fmla="*/ 67 w 176"/>
                <a:gd name="T23" fmla="*/ 22 h 175"/>
                <a:gd name="T24" fmla="*/ 51 w 176"/>
                <a:gd name="T25" fmla="*/ 7 h 175"/>
                <a:gd name="T26" fmla="*/ 36 w 176"/>
                <a:gd name="T27" fmla="*/ 15 h 175"/>
                <a:gd name="T28" fmla="*/ 42 w 176"/>
                <a:gd name="T29" fmla="*/ 36 h 175"/>
                <a:gd name="T30" fmla="*/ 27 w 176"/>
                <a:gd name="T31" fmla="*/ 56 h 175"/>
                <a:gd name="T32" fmla="*/ 4 w 176"/>
                <a:gd name="T33" fmla="*/ 57 h 175"/>
                <a:gd name="T34" fmla="*/ 0 w 176"/>
                <a:gd name="T35" fmla="*/ 73 h 175"/>
                <a:gd name="T36" fmla="*/ 19 w 176"/>
                <a:gd name="T37" fmla="*/ 84 h 175"/>
                <a:gd name="T38" fmla="*/ 22 w 176"/>
                <a:gd name="T39" fmla="*/ 109 h 175"/>
                <a:gd name="T40" fmla="*/ 7 w 176"/>
                <a:gd name="T41" fmla="*/ 125 h 175"/>
                <a:gd name="T42" fmla="*/ 15 w 176"/>
                <a:gd name="T43" fmla="*/ 139 h 175"/>
                <a:gd name="T44" fmla="*/ 37 w 176"/>
                <a:gd name="T45" fmla="*/ 134 h 175"/>
                <a:gd name="T46" fmla="*/ 57 w 176"/>
                <a:gd name="T47" fmla="*/ 149 h 175"/>
                <a:gd name="T48" fmla="*/ 57 w 176"/>
                <a:gd name="T49" fmla="*/ 171 h 175"/>
                <a:gd name="T50" fmla="*/ 73 w 176"/>
                <a:gd name="T51" fmla="*/ 175 h 175"/>
                <a:gd name="T52" fmla="*/ 84 w 176"/>
                <a:gd name="T53" fmla="*/ 156 h 175"/>
                <a:gd name="T54" fmla="*/ 109 w 176"/>
                <a:gd name="T55" fmla="*/ 153 h 175"/>
                <a:gd name="T56" fmla="*/ 125 w 176"/>
                <a:gd name="T57" fmla="*/ 168 h 175"/>
                <a:gd name="T58" fmla="*/ 140 w 176"/>
                <a:gd name="T59" fmla="*/ 160 h 175"/>
                <a:gd name="T60" fmla="*/ 134 w 176"/>
                <a:gd name="T61" fmla="*/ 139 h 175"/>
                <a:gd name="T62" fmla="*/ 149 w 176"/>
                <a:gd name="T63" fmla="*/ 119 h 175"/>
                <a:gd name="T64" fmla="*/ 171 w 176"/>
                <a:gd name="T65" fmla="*/ 119 h 175"/>
                <a:gd name="T66" fmla="*/ 84 w 176"/>
                <a:gd name="T67" fmla="*/ 136 h 175"/>
                <a:gd name="T68" fmla="*/ 40 w 176"/>
                <a:gd name="T69" fmla="*/ 84 h 175"/>
                <a:gd name="T70" fmla="*/ 92 w 176"/>
                <a:gd name="T71" fmla="*/ 39 h 175"/>
                <a:gd name="T72" fmla="*/ 136 w 176"/>
                <a:gd name="T73" fmla="*/ 91 h 175"/>
                <a:gd name="T74" fmla="*/ 84 w 176"/>
                <a:gd name="T75" fmla="*/ 13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6" h="175">
                  <a:moveTo>
                    <a:pt x="171" y="119"/>
                  </a:moveTo>
                  <a:cubicBezTo>
                    <a:pt x="176" y="102"/>
                    <a:pt x="176" y="102"/>
                    <a:pt x="176" y="102"/>
                  </a:cubicBezTo>
                  <a:cubicBezTo>
                    <a:pt x="157" y="91"/>
                    <a:pt x="157" y="91"/>
                    <a:pt x="157" y="91"/>
                  </a:cubicBezTo>
                  <a:cubicBezTo>
                    <a:pt x="157" y="82"/>
                    <a:pt x="156" y="74"/>
                    <a:pt x="154" y="66"/>
                  </a:cubicBezTo>
                  <a:cubicBezTo>
                    <a:pt x="169" y="50"/>
                    <a:pt x="169" y="50"/>
                    <a:pt x="169" y="5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39" y="41"/>
                    <a:pt x="139" y="41"/>
                    <a:pt x="139" y="41"/>
                  </a:cubicBezTo>
                  <a:cubicBezTo>
                    <a:pt x="134" y="35"/>
                    <a:pt x="127" y="30"/>
                    <a:pt x="119" y="26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83" y="18"/>
                    <a:pt x="74" y="19"/>
                    <a:pt x="67" y="22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6" y="42"/>
                    <a:pt x="30" y="49"/>
                    <a:pt x="27" y="56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93"/>
                    <a:pt x="20" y="101"/>
                    <a:pt x="22" y="109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37" y="134"/>
                    <a:pt x="37" y="134"/>
                    <a:pt x="37" y="134"/>
                  </a:cubicBezTo>
                  <a:cubicBezTo>
                    <a:pt x="42" y="140"/>
                    <a:pt x="49" y="145"/>
                    <a:pt x="57" y="149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84" y="156"/>
                    <a:pt x="84" y="156"/>
                    <a:pt x="84" y="156"/>
                  </a:cubicBezTo>
                  <a:cubicBezTo>
                    <a:pt x="93" y="157"/>
                    <a:pt x="101" y="156"/>
                    <a:pt x="109" y="153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40" y="133"/>
                    <a:pt x="146" y="126"/>
                    <a:pt x="149" y="119"/>
                  </a:cubicBezTo>
                  <a:lnTo>
                    <a:pt x="171" y="119"/>
                  </a:lnTo>
                  <a:close/>
                  <a:moveTo>
                    <a:pt x="84" y="136"/>
                  </a:moveTo>
                  <a:cubicBezTo>
                    <a:pt x="58" y="134"/>
                    <a:pt x="38" y="110"/>
                    <a:pt x="40" y="84"/>
                  </a:cubicBezTo>
                  <a:cubicBezTo>
                    <a:pt x="42" y="57"/>
                    <a:pt x="65" y="37"/>
                    <a:pt x="92" y="39"/>
                  </a:cubicBezTo>
                  <a:cubicBezTo>
                    <a:pt x="119" y="42"/>
                    <a:pt x="138" y="65"/>
                    <a:pt x="136" y="91"/>
                  </a:cubicBezTo>
                  <a:cubicBezTo>
                    <a:pt x="134" y="118"/>
                    <a:pt x="111" y="138"/>
                    <a:pt x="8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69D98D32-2329-47C2-AE59-2E599EA94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2288" y="3995738"/>
              <a:ext cx="119063" cy="119062"/>
            </a:xfrm>
            <a:custGeom>
              <a:avLst/>
              <a:gdLst>
                <a:gd name="T0" fmla="*/ 26 w 53"/>
                <a:gd name="T1" fmla="*/ 53 h 53"/>
                <a:gd name="T2" fmla="*/ 53 w 53"/>
                <a:gd name="T3" fmla="*/ 26 h 53"/>
                <a:gd name="T4" fmla="*/ 26 w 53"/>
                <a:gd name="T5" fmla="*/ 0 h 53"/>
                <a:gd name="T6" fmla="*/ 0 w 53"/>
                <a:gd name="T7" fmla="*/ 26 h 53"/>
                <a:gd name="T8" fmla="*/ 26 w 53"/>
                <a:gd name="T9" fmla="*/ 53 h 53"/>
                <a:gd name="T10" fmla="*/ 26 w 53"/>
                <a:gd name="T11" fmla="*/ 37 h 53"/>
                <a:gd name="T12" fmla="*/ 15 w 53"/>
                <a:gd name="T13" fmla="*/ 26 h 53"/>
                <a:gd name="T14" fmla="*/ 26 w 53"/>
                <a:gd name="T15" fmla="*/ 15 h 53"/>
                <a:gd name="T16" fmla="*/ 37 w 53"/>
                <a:gd name="T17" fmla="*/ 26 h 53"/>
                <a:gd name="T18" fmla="*/ 26 w 53"/>
                <a:gd name="T19" fmla="*/ 3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26" y="53"/>
                  </a:moveTo>
                  <a:cubicBezTo>
                    <a:pt x="41" y="53"/>
                    <a:pt x="53" y="41"/>
                    <a:pt x="53" y="26"/>
                  </a:cubicBezTo>
                  <a:cubicBezTo>
                    <a:pt x="53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3"/>
                    <a:pt x="26" y="53"/>
                  </a:cubicBezTo>
                  <a:close/>
                  <a:moveTo>
                    <a:pt x="26" y="37"/>
                  </a:moveTo>
                  <a:cubicBezTo>
                    <a:pt x="20" y="37"/>
                    <a:pt x="15" y="32"/>
                    <a:pt x="15" y="26"/>
                  </a:cubicBezTo>
                  <a:cubicBezTo>
                    <a:pt x="15" y="20"/>
                    <a:pt x="20" y="15"/>
                    <a:pt x="26" y="15"/>
                  </a:cubicBezTo>
                  <a:cubicBezTo>
                    <a:pt x="32" y="15"/>
                    <a:pt x="37" y="20"/>
                    <a:pt x="37" y="26"/>
                  </a:cubicBezTo>
                  <a:cubicBezTo>
                    <a:pt x="37" y="32"/>
                    <a:pt x="32" y="37"/>
                    <a:pt x="2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0BBFB13-E4CA-4BBE-945C-6C19B92A31DB}"/>
              </a:ext>
            </a:extLst>
          </p:cNvPr>
          <p:cNvGrpSpPr/>
          <p:nvPr/>
        </p:nvGrpSpPr>
        <p:grpSpPr>
          <a:xfrm>
            <a:off x="2105639" y="1992278"/>
            <a:ext cx="374367" cy="372858"/>
            <a:chOff x="2806561" y="2158206"/>
            <a:chExt cx="393700" cy="392112"/>
          </a:xfrm>
          <a:solidFill>
            <a:srgbClr val="DADFE1"/>
          </a:solidFill>
          <a:effectLst/>
        </p:grpSpPr>
        <p:sp>
          <p:nvSpPr>
            <p:cNvPr id="69" name="Freeform 36">
              <a:extLst>
                <a:ext uri="{FF2B5EF4-FFF2-40B4-BE49-F238E27FC236}">
                  <a16:creationId xmlns:a16="http://schemas.microsoft.com/office/drawing/2014/main" id="{07478F35-EBBF-4AB5-B8EB-93CAED4012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6561" y="2158206"/>
              <a:ext cx="393700" cy="392112"/>
            </a:xfrm>
            <a:custGeom>
              <a:avLst/>
              <a:gdLst>
                <a:gd name="T0" fmla="*/ 171 w 176"/>
                <a:gd name="T1" fmla="*/ 119 h 175"/>
                <a:gd name="T2" fmla="*/ 176 w 176"/>
                <a:gd name="T3" fmla="*/ 102 h 175"/>
                <a:gd name="T4" fmla="*/ 157 w 176"/>
                <a:gd name="T5" fmla="*/ 91 h 175"/>
                <a:gd name="T6" fmla="*/ 154 w 176"/>
                <a:gd name="T7" fmla="*/ 66 h 175"/>
                <a:gd name="T8" fmla="*/ 169 w 176"/>
                <a:gd name="T9" fmla="*/ 50 h 175"/>
                <a:gd name="T10" fmla="*/ 161 w 176"/>
                <a:gd name="T11" fmla="*/ 36 h 175"/>
                <a:gd name="T12" fmla="*/ 139 w 176"/>
                <a:gd name="T13" fmla="*/ 41 h 175"/>
                <a:gd name="T14" fmla="*/ 119 w 176"/>
                <a:gd name="T15" fmla="*/ 26 h 175"/>
                <a:gd name="T16" fmla="*/ 119 w 176"/>
                <a:gd name="T17" fmla="*/ 4 h 175"/>
                <a:gd name="T18" fmla="*/ 103 w 176"/>
                <a:gd name="T19" fmla="*/ 0 h 175"/>
                <a:gd name="T20" fmla="*/ 92 w 176"/>
                <a:gd name="T21" fmla="*/ 19 h 175"/>
                <a:gd name="T22" fmla="*/ 67 w 176"/>
                <a:gd name="T23" fmla="*/ 22 h 175"/>
                <a:gd name="T24" fmla="*/ 51 w 176"/>
                <a:gd name="T25" fmla="*/ 7 h 175"/>
                <a:gd name="T26" fmla="*/ 36 w 176"/>
                <a:gd name="T27" fmla="*/ 15 h 175"/>
                <a:gd name="T28" fmla="*/ 42 w 176"/>
                <a:gd name="T29" fmla="*/ 36 h 175"/>
                <a:gd name="T30" fmla="*/ 27 w 176"/>
                <a:gd name="T31" fmla="*/ 56 h 175"/>
                <a:gd name="T32" fmla="*/ 4 w 176"/>
                <a:gd name="T33" fmla="*/ 57 h 175"/>
                <a:gd name="T34" fmla="*/ 0 w 176"/>
                <a:gd name="T35" fmla="*/ 73 h 175"/>
                <a:gd name="T36" fmla="*/ 19 w 176"/>
                <a:gd name="T37" fmla="*/ 84 h 175"/>
                <a:gd name="T38" fmla="*/ 22 w 176"/>
                <a:gd name="T39" fmla="*/ 109 h 175"/>
                <a:gd name="T40" fmla="*/ 7 w 176"/>
                <a:gd name="T41" fmla="*/ 125 h 175"/>
                <a:gd name="T42" fmla="*/ 15 w 176"/>
                <a:gd name="T43" fmla="*/ 139 h 175"/>
                <a:gd name="T44" fmla="*/ 37 w 176"/>
                <a:gd name="T45" fmla="*/ 134 h 175"/>
                <a:gd name="T46" fmla="*/ 57 w 176"/>
                <a:gd name="T47" fmla="*/ 149 h 175"/>
                <a:gd name="T48" fmla="*/ 57 w 176"/>
                <a:gd name="T49" fmla="*/ 171 h 175"/>
                <a:gd name="T50" fmla="*/ 73 w 176"/>
                <a:gd name="T51" fmla="*/ 175 h 175"/>
                <a:gd name="T52" fmla="*/ 84 w 176"/>
                <a:gd name="T53" fmla="*/ 156 h 175"/>
                <a:gd name="T54" fmla="*/ 109 w 176"/>
                <a:gd name="T55" fmla="*/ 153 h 175"/>
                <a:gd name="T56" fmla="*/ 125 w 176"/>
                <a:gd name="T57" fmla="*/ 168 h 175"/>
                <a:gd name="T58" fmla="*/ 140 w 176"/>
                <a:gd name="T59" fmla="*/ 160 h 175"/>
                <a:gd name="T60" fmla="*/ 134 w 176"/>
                <a:gd name="T61" fmla="*/ 139 h 175"/>
                <a:gd name="T62" fmla="*/ 149 w 176"/>
                <a:gd name="T63" fmla="*/ 119 h 175"/>
                <a:gd name="T64" fmla="*/ 171 w 176"/>
                <a:gd name="T65" fmla="*/ 119 h 175"/>
                <a:gd name="T66" fmla="*/ 84 w 176"/>
                <a:gd name="T67" fmla="*/ 136 h 175"/>
                <a:gd name="T68" fmla="*/ 40 w 176"/>
                <a:gd name="T69" fmla="*/ 84 h 175"/>
                <a:gd name="T70" fmla="*/ 92 w 176"/>
                <a:gd name="T71" fmla="*/ 39 h 175"/>
                <a:gd name="T72" fmla="*/ 136 w 176"/>
                <a:gd name="T73" fmla="*/ 91 h 175"/>
                <a:gd name="T74" fmla="*/ 84 w 176"/>
                <a:gd name="T75" fmla="*/ 13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6" h="175">
                  <a:moveTo>
                    <a:pt x="171" y="119"/>
                  </a:moveTo>
                  <a:cubicBezTo>
                    <a:pt x="176" y="102"/>
                    <a:pt x="176" y="102"/>
                    <a:pt x="176" y="102"/>
                  </a:cubicBezTo>
                  <a:cubicBezTo>
                    <a:pt x="157" y="91"/>
                    <a:pt x="157" y="91"/>
                    <a:pt x="157" y="91"/>
                  </a:cubicBezTo>
                  <a:cubicBezTo>
                    <a:pt x="157" y="82"/>
                    <a:pt x="156" y="74"/>
                    <a:pt x="154" y="66"/>
                  </a:cubicBezTo>
                  <a:cubicBezTo>
                    <a:pt x="169" y="50"/>
                    <a:pt x="169" y="50"/>
                    <a:pt x="169" y="5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39" y="41"/>
                    <a:pt x="139" y="41"/>
                    <a:pt x="139" y="41"/>
                  </a:cubicBezTo>
                  <a:cubicBezTo>
                    <a:pt x="134" y="35"/>
                    <a:pt x="127" y="30"/>
                    <a:pt x="119" y="26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83" y="18"/>
                    <a:pt x="74" y="19"/>
                    <a:pt x="67" y="22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6" y="42"/>
                    <a:pt x="30" y="49"/>
                    <a:pt x="27" y="56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93"/>
                    <a:pt x="20" y="101"/>
                    <a:pt x="22" y="109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37" y="134"/>
                    <a:pt x="37" y="134"/>
                    <a:pt x="37" y="134"/>
                  </a:cubicBezTo>
                  <a:cubicBezTo>
                    <a:pt x="42" y="140"/>
                    <a:pt x="49" y="145"/>
                    <a:pt x="57" y="149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84" y="156"/>
                    <a:pt x="84" y="156"/>
                    <a:pt x="84" y="156"/>
                  </a:cubicBezTo>
                  <a:cubicBezTo>
                    <a:pt x="93" y="157"/>
                    <a:pt x="101" y="156"/>
                    <a:pt x="109" y="153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40" y="133"/>
                    <a:pt x="146" y="126"/>
                    <a:pt x="149" y="119"/>
                  </a:cubicBezTo>
                  <a:lnTo>
                    <a:pt x="171" y="119"/>
                  </a:lnTo>
                  <a:close/>
                  <a:moveTo>
                    <a:pt x="84" y="136"/>
                  </a:moveTo>
                  <a:cubicBezTo>
                    <a:pt x="58" y="134"/>
                    <a:pt x="38" y="110"/>
                    <a:pt x="40" y="84"/>
                  </a:cubicBezTo>
                  <a:cubicBezTo>
                    <a:pt x="42" y="57"/>
                    <a:pt x="65" y="37"/>
                    <a:pt x="92" y="39"/>
                  </a:cubicBezTo>
                  <a:cubicBezTo>
                    <a:pt x="119" y="42"/>
                    <a:pt x="138" y="65"/>
                    <a:pt x="136" y="91"/>
                  </a:cubicBezTo>
                  <a:cubicBezTo>
                    <a:pt x="134" y="118"/>
                    <a:pt x="111" y="138"/>
                    <a:pt x="8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0" name="Freeform 37">
              <a:extLst>
                <a:ext uri="{FF2B5EF4-FFF2-40B4-BE49-F238E27FC236}">
                  <a16:creationId xmlns:a16="http://schemas.microsoft.com/office/drawing/2014/main" id="{10722B03-97A4-4995-A231-396735F22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4674" y="2294731"/>
              <a:ext cx="119063" cy="119062"/>
            </a:xfrm>
            <a:custGeom>
              <a:avLst/>
              <a:gdLst>
                <a:gd name="T0" fmla="*/ 26 w 53"/>
                <a:gd name="T1" fmla="*/ 53 h 53"/>
                <a:gd name="T2" fmla="*/ 53 w 53"/>
                <a:gd name="T3" fmla="*/ 26 h 53"/>
                <a:gd name="T4" fmla="*/ 26 w 53"/>
                <a:gd name="T5" fmla="*/ 0 h 53"/>
                <a:gd name="T6" fmla="*/ 0 w 53"/>
                <a:gd name="T7" fmla="*/ 26 h 53"/>
                <a:gd name="T8" fmla="*/ 26 w 53"/>
                <a:gd name="T9" fmla="*/ 53 h 53"/>
                <a:gd name="T10" fmla="*/ 26 w 53"/>
                <a:gd name="T11" fmla="*/ 37 h 53"/>
                <a:gd name="T12" fmla="*/ 15 w 53"/>
                <a:gd name="T13" fmla="*/ 26 h 53"/>
                <a:gd name="T14" fmla="*/ 26 w 53"/>
                <a:gd name="T15" fmla="*/ 15 h 53"/>
                <a:gd name="T16" fmla="*/ 37 w 53"/>
                <a:gd name="T17" fmla="*/ 26 h 53"/>
                <a:gd name="T18" fmla="*/ 26 w 53"/>
                <a:gd name="T19" fmla="*/ 3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26" y="53"/>
                  </a:moveTo>
                  <a:cubicBezTo>
                    <a:pt x="41" y="53"/>
                    <a:pt x="53" y="41"/>
                    <a:pt x="53" y="26"/>
                  </a:cubicBezTo>
                  <a:cubicBezTo>
                    <a:pt x="53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3"/>
                    <a:pt x="26" y="53"/>
                  </a:cubicBezTo>
                  <a:close/>
                  <a:moveTo>
                    <a:pt x="26" y="37"/>
                  </a:moveTo>
                  <a:cubicBezTo>
                    <a:pt x="20" y="37"/>
                    <a:pt x="15" y="32"/>
                    <a:pt x="15" y="26"/>
                  </a:cubicBezTo>
                  <a:cubicBezTo>
                    <a:pt x="15" y="20"/>
                    <a:pt x="20" y="15"/>
                    <a:pt x="26" y="15"/>
                  </a:cubicBezTo>
                  <a:cubicBezTo>
                    <a:pt x="32" y="15"/>
                    <a:pt x="37" y="20"/>
                    <a:pt x="37" y="26"/>
                  </a:cubicBezTo>
                  <a:cubicBezTo>
                    <a:pt x="37" y="32"/>
                    <a:pt x="32" y="37"/>
                    <a:pt x="2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71" name="Freeform 18">
            <a:extLst>
              <a:ext uri="{FF2B5EF4-FFF2-40B4-BE49-F238E27FC236}">
                <a16:creationId xmlns:a16="http://schemas.microsoft.com/office/drawing/2014/main" id="{DE7BCE4B-8B4A-4F8E-915C-00A4260B9DC7}"/>
              </a:ext>
            </a:extLst>
          </p:cNvPr>
          <p:cNvSpPr>
            <a:spLocks noEditPoints="1"/>
          </p:cNvSpPr>
          <p:nvPr/>
        </p:nvSpPr>
        <p:spPr bwMode="auto">
          <a:xfrm>
            <a:off x="4524060" y="2199841"/>
            <a:ext cx="1249903" cy="1252922"/>
          </a:xfrm>
          <a:custGeom>
            <a:avLst/>
            <a:gdLst>
              <a:gd name="T0" fmla="*/ 582 w 587"/>
              <a:gd name="T1" fmla="*/ 356 h 588"/>
              <a:gd name="T2" fmla="*/ 539 w 587"/>
              <a:gd name="T3" fmla="*/ 298 h 588"/>
              <a:gd name="T4" fmla="*/ 583 w 587"/>
              <a:gd name="T5" fmla="*/ 243 h 588"/>
              <a:gd name="T6" fmla="*/ 522 w 587"/>
              <a:gd name="T7" fmla="*/ 203 h 588"/>
              <a:gd name="T8" fmla="*/ 541 w 587"/>
              <a:gd name="T9" fmla="*/ 134 h 588"/>
              <a:gd name="T10" fmla="*/ 471 w 587"/>
              <a:gd name="T11" fmla="*/ 124 h 588"/>
              <a:gd name="T12" fmla="*/ 462 w 587"/>
              <a:gd name="T13" fmla="*/ 53 h 588"/>
              <a:gd name="T14" fmla="*/ 390 w 587"/>
              <a:gd name="T15" fmla="*/ 68 h 588"/>
              <a:gd name="T16" fmla="*/ 356 w 587"/>
              <a:gd name="T17" fmla="*/ 6 h 588"/>
              <a:gd name="T18" fmla="*/ 298 w 587"/>
              <a:gd name="T19" fmla="*/ 48 h 588"/>
              <a:gd name="T20" fmla="*/ 243 w 587"/>
              <a:gd name="T21" fmla="*/ 5 h 588"/>
              <a:gd name="T22" fmla="*/ 203 w 587"/>
              <a:gd name="T23" fmla="*/ 66 h 588"/>
              <a:gd name="T24" fmla="*/ 134 w 587"/>
              <a:gd name="T25" fmla="*/ 47 h 588"/>
              <a:gd name="T26" fmla="*/ 123 w 587"/>
              <a:gd name="T27" fmla="*/ 117 h 588"/>
              <a:gd name="T28" fmla="*/ 53 w 587"/>
              <a:gd name="T29" fmla="*/ 125 h 588"/>
              <a:gd name="T30" fmla="*/ 68 w 587"/>
              <a:gd name="T31" fmla="*/ 197 h 588"/>
              <a:gd name="T32" fmla="*/ 6 w 587"/>
              <a:gd name="T33" fmla="*/ 232 h 588"/>
              <a:gd name="T34" fmla="*/ 48 w 587"/>
              <a:gd name="T35" fmla="*/ 290 h 588"/>
              <a:gd name="T36" fmla="*/ 4 w 587"/>
              <a:gd name="T37" fmla="*/ 345 h 588"/>
              <a:gd name="T38" fmla="*/ 66 w 587"/>
              <a:gd name="T39" fmla="*/ 385 h 588"/>
              <a:gd name="T40" fmla="*/ 47 w 587"/>
              <a:gd name="T41" fmla="*/ 454 h 588"/>
              <a:gd name="T42" fmla="*/ 117 w 587"/>
              <a:gd name="T43" fmla="*/ 465 h 588"/>
              <a:gd name="T44" fmla="*/ 125 w 587"/>
              <a:gd name="T45" fmla="*/ 535 h 588"/>
              <a:gd name="T46" fmla="*/ 197 w 587"/>
              <a:gd name="T47" fmla="*/ 520 h 588"/>
              <a:gd name="T48" fmla="*/ 232 w 587"/>
              <a:gd name="T49" fmla="*/ 582 h 588"/>
              <a:gd name="T50" fmla="*/ 289 w 587"/>
              <a:gd name="T51" fmla="*/ 540 h 588"/>
              <a:gd name="T52" fmla="*/ 345 w 587"/>
              <a:gd name="T53" fmla="*/ 583 h 588"/>
              <a:gd name="T54" fmla="*/ 385 w 587"/>
              <a:gd name="T55" fmla="*/ 522 h 588"/>
              <a:gd name="T56" fmla="*/ 453 w 587"/>
              <a:gd name="T57" fmla="*/ 541 h 588"/>
              <a:gd name="T58" fmla="*/ 464 w 587"/>
              <a:gd name="T59" fmla="*/ 471 h 588"/>
              <a:gd name="T60" fmla="*/ 535 w 587"/>
              <a:gd name="T61" fmla="*/ 463 h 588"/>
              <a:gd name="T62" fmla="*/ 520 w 587"/>
              <a:gd name="T63" fmla="*/ 391 h 588"/>
              <a:gd name="T64" fmla="*/ 243 w 587"/>
              <a:gd name="T65" fmla="*/ 476 h 588"/>
              <a:gd name="T66" fmla="*/ 345 w 587"/>
              <a:gd name="T67" fmla="*/ 112 h 588"/>
              <a:gd name="T68" fmla="*/ 243 w 587"/>
              <a:gd name="T69" fmla="*/ 476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87" h="588">
                <a:moveTo>
                  <a:pt x="572" y="392"/>
                </a:moveTo>
                <a:cubicBezTo>
                  <a:pt x="582" y="356"/>
                  <a:pt x="582" y="356"/>
                  <a:pt x="582" y="356"/>
                </a:cubicBezTo>
                <a:cubicBezTo>
                  <a:pt x="537" y="330"/>
                  <a:pt x="537" y="330"/>
                  <a:pt x="537" y="330"/>
                </a:cubicBezTo>
                <a:cubicBezTo>
                  <a:pt x="538" y="319"/>
                  <a:pt x="539" y="309"/>
                  <a:pt x="539" y="298"/>
                </a:cubicBezTo>
                <a:cubicBezTo>
                  <a:pt x="587" y="280"/>
                  <a:pt x="587" y="280"/>
                  <a:pt x="587" y="280"/>
                </a:cubicBezTo>
                <a:cubicBezTo>
                  <a:pt x="583" y="243"/>
                  <a:pt x="583" y="243"/>
                  <a:pt x="583" y="243"/>
                </a:cubicBezTo>
                <a:cubicBezTo>
                  <a:pt x="532" y="236"/>
                  <a:pt x="532" y="236"/>
                  <a:pt x="532" y="236"/>
                </a:cubicBezTo>
                <a:cubicBezTo>
                  <a:pt x="530" y="224"/>
                  <a:pt x="526" y="213"/>
                  <a:pt x="522" y="203"/>
                </a:cubicBezTo>
                <a:cubicBezTo>
                  <a:pt x="559" y="167"/>
                  <a:pt x="559" y="167"/>
                  <a:pt x="559" y="167"/>
                </a:cubicBezTo>
                <a:cubicBezTo>
                  <a:pt x="541" y="134"/>
                  <a:pt x="541" y="134"/>
                  <a:pt x="541" y="134"/>
                </a:cubicBezTo>
                <a:cubicBezTo>
                  <a:pt x="491" y="147"/>
                  <a:pt x="491" y="147"/>
                  <a:pt x="491" y="147"/>
                </a:cubicBezTo>
                <a:cubicBezTo>
                  <a:pt x="485" y="139"/>
                  <a:pt x="478" y="131"/>
                  <a:pt x="471" y="124"/>
                </a:cubicBezTo>
                <a:cubicBezTo>
                  <a:pt x="492" y="77"/>
                  <a:pt x="492" y="77"/>
                  <a:pt x="492" y="77"/>
                </a:cubicBezTo>
                <a:cubicBezTo>
                  <a:pt x="462" y="53"/>
                  <a:pt x="462" y="53"/>
                  <a:pt x="462" y="53"/>
                </a:cubicBezTo>
                <a:cubicBezTo>
                  <a:pt x="421" y="84"/>
                  <a:pt x="421" y="84"/>
                  <a:pt x="421" y="84"/>
                </a:cubicBezTo>
                <a:cubicBezTo>
                  <a:pt x="411" y="78"/>
                  <a:pt x="401" y="73"/>
                  <a:pt x="390" y="68"/>
                </a:cubicBezTo>
                <a:cubicBezTo>
                  <a:pt x="392" y="16"/>
                  <a:pt x="392" y="16"/>
                  <a:pt x="392" y="16"/>
                </a:cubicBezTo>
                <a:cubicBezTo>
                  <a:pt x="356" y="6"/>
                  <a:pt x="356" y="6"/>
                  <a:pt x="356" y="6"/>
                </a:cubicBezTo>
                <a:cubicBezTo>
                  <a:pt x="330" y="51"/>
                  <a:pt x="330" y="51"/>
                  <a:pt x="330" y="51"/>
                </a:cubicBezTo>
                <a:cubicBezTo>
                  <a:pt x="319" y="49"/>
                  <a:pt x="309" y="49"/>
                  <a:pt x="298" y="48"/>
                </a:cubicBezTo>
                <a:cubicBezTo>
                  <a:pt x="280" y="0"/>
                  <a:pt x="280" y="0"/>
                  <a:pt x="280" y="0"/>
                </a:cubicBezTo>
                <a:cubicBezTo>
                  <a:pt x="243" y="5"/>
                  <a:pt x="243" y="5"/>
                  <a:pt x="243" y="5"/>
                </a:cubicBezTo>
                <a:cubicBezTo>
                  <a:pt x="235" y="55"/>
                  <a:pt x="235" y="55"/>
                  <a:pt x="235" y="55"/>
                </a:cubicBezTo>
                <a:cubicBezTo>
                  <a:pt x="224" y="58"/>
                  <a:pt x="213" y="62"/>
                  <a:pt x="203" y="66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34" y="47"/>
                  <a:pt x="134" y="47"/>
                  <a:pt x="134" y="47"/>
                </a:cubicBezTo>
                <a:cubicBezTo>
                  <a:pt x="147" y="97"/>
                  <a:pt x="147" y="97"/>
                  <a:pt x="147" y="97"/>
                </a:cubicBezTo>
                <a:cubicBezTo>
                  <a:pt x="139" y="103"/>
                  <a:pt x="131" y="110"/>
                  <a:pt x="123" y="117"/>
                </a:cubicBezTo>
                <a:cubicBezTo>
                  <a:pt x="76" y="96"/>
                  <a:pt x="76" y="96"/>
                  <a:pt x="76" y="96"/>
                </a:cubicBezTo>
                <a:cubicBezTo>
                  <a:pt x="53" y="125"/>
                  <a:pt x="53" y="125"/>
                  <a:pt x="53" y="125"/>
                </a:cubicBezTo>
                <a:cubicBezTo>
                  <a:pt x="84" y="167"/>
                  <a:pt x="84" y="167"/>
                  <a:pt x="84" y="167"/>
                </a:cubicBezTo>
                <a:cubicBezTo>
                  <a:pt x="78" y="176"/>
                  <a:pt x="73" y="187"/>
                  <a:pt x="68" y="197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6" y="232"/>
                  <a:pt x="6" y="232"/>
                  <a:pt x="6" y="232"/>
                </a:cubicBezTo>
                <a:cubicBezTo>
                  <a:pt x="51" y="258"/>
                  <a:pt x="51" y="258"/>
                  <a:pt x="51" y="258"/>
                </a:cubicBezTo>
                <a:cubicBezTo>
                  <a:pt x="49" y="269"/>
                  <a:pt x="48" y="279"/>
                  <a:pt x="48" y="290"/>
                </a:cubicBezTo>
                <a:cubicBezTo>
                  <a:pt x="0" y="308"/>
                  <a:pt x="0" y="308"/>
                  <a:pt x="0" y="308"/>
                </a:cubicBezTo>
                <a:cubicBezTo>
                  <a:pt x="4" y="345"/>
                  <a:pt x="4" y="345"/>
                  <a:pt x="4" y="345"/>
                </a:cubicBezTo>
                <a:cubicBezTo>
                  <a:pt x="55" y="352"/>
                  <a:pt x="55" y="352"/>
                  <a:pt x="55" y="352"/>
                </a:cubicBezTo>
                <a:cubicBezTo>
                  <a:pt x="58" y="364"/>
                  <a:pt x="62" y="375"/>
                  <a:pt x="66" y="385"/>
                </a:cubicBezTo>
                <a:cubicBezTo>
                  <a:pt x="29" y="421"/>
                  <a:pt x="29" y="421"/>
                  <a:pt x="29" y="421"/>
                </a:cubicBezTo>
                <a:cubicBezTo>
                  <a:pt x="47" y="454"/>
                  <a:pt x="47" y="454"/>
                  <a:pt x="47" y="454"/>
                </a:cubicBezTo>
                <a:cubicBezTo>
                  <a:pt x="97" y="441"/>
                  <a:pt x="97" y="441"/>
                  <a:pt x="97" y="441"/>
                </a:cubicBezTo>
                <a:cubicBezTo>
                  <a:pt x="103" y="449"/>
                  <a:pt x="110" y="457"/>
                  <a:pt x="117" y="465"/>
                </a:cubicBezTo>
                <a:cubicBezTo>
                  <a:pt x="96" y="511"/>
                  <a:pt x="96" y="511"/>
                  <a:pt x="96" y="511"/>
                </a:cubicBezTo>
                <a:cubicBezTo>
                  <a:pt x="125" y="535"/>
                  <a:pt x="125" y="535"/>
                  <a:pt x="125" y="535"/>
                </a:cubicBezTo>
                <a:cubicBezTo>
                  <a:pt x="167" y="504"/>
                  <a:pt x="167" y="504"/>
                  <a:pt x="167" y="504"/>
                </a:cubicBezTo>
                <a:cubicBezTo>
                  <a:pt x="176" y="510"/>
                  <a:pt x="187" y="515"/>
                  <a:pt x="197" y="520"/>
                </a:cubicBezTo>
                <a:cubicBezTo>
                  <a:pt x="196" y="572"/>
                  <a:pt x="196" y="572"/>
                  <a:pt x="196" y="572"/>
                </a:cubicBezTo>
                <a:cubicBezTo>
                  <a:pt x="232" y="582"/>
                  <a:pt x="232" y="582"/>
                  <a:pt x="232" y="582"/>
                </a:cubicBezTo>
                <a:cubicBezTo>
                  <a:pt x="258" y="537"/>
                  <a:pt x="258" y="537"/>
                  <a:pt x="258" y="537"/>
                </a:cubicBezTo>
                <a:cubicBezTo>
                  <a:pt x="269" y="539"/>
                  <a:pt x="279" y="539"/>
                  <a:pt x="289" y="540"/>
                </a:cubicBezTo>
                <a:cubicBezTo>
                  <a:pt x="308" y="588"/>
                  <a:pt x="308" y="588"/>
                  <a:pt x="308" y="588"/>
                </a:cubicBezTo>
                <a:cubicBezTo>
                  <a:pt x="345" y="583"/>
                  <a:pt x="345" y="583"/>
                  <a:pt x="345" y="583"/>
                </a:cubicBezTo>
                <a:cubicBezTo>
                  <a:pt x="352" y="533"/>
                  <a:pt x="352" y="533"/>
                  <a:pt x="352" y="533"/>
                </a:cubicBezTo>
                <a:cubicBezTo>
                  <a:pt x="364" y="530"/>
                  <a:pt x="375" y="526"/>
                  <a:pt x="385" y="522"/>
                </a:cubicBezTo>
                <a:cubicBezTo>
                  <a:pt x="421" y="559"/>
                  <a:pt x="421" y="559"/>
                  <a:pt x="421" y="559"/>
                </a:cubicBezTo>
                <a:cubicBezTo>
                  <a:pt x="453" y="541"/>
                  <a:pt x="453" y="541"/>
                  <a:pt x="453" y="541"/>
                </a:cubicBezTo>
                <a:cubicBezTo>
                  <a:pt x="440" y="491"/>
                  <a:pt x="440" y="491"/>
                  <a:pt x="440" y="491"/>
                </a:cubicBezTo>
                <a:cubicBezTo>
                  <a:pt x="449" y="485"/>
                  <a:pt x="457" y="478"/>
                  <a:pt x="464" y="471"/>
                </a:cubicBezTo>
                <a:cubicBezTo>
                  <a:pt x="511" y="492"/>
                  <a:pt x="511" y="492"/>
                  <a:pt x="511" y="492"/>
                </a:cubicBezTo>
                <a:cubicBezTo>
                  <a:pt x="535" y="463"/>
                  <a:pt x="535" y="463"/>
                  <a:pt x="535" y="463"/>
                </a:cubicBezTo>
                <a:cubicBezTo>
                  <a:pt x="504" y="421"/>
                  <a:pt x="504" y="421"/>
                  <a:pt x="504" y="421"/>
                </a:cubicBezTo>
                <a:cubicBezTo>
                  <a:pt x="510" y="412"/>
                  <a:pt x="515" y="401"/>
                  <a:pt x="520" y="391"/>
                </a:cubicBezTo>
                <a:lnTo>
                  <a:pt x="572" y="392"/>
                </a:lnTo>
                <a:close/>
                <a:moveTo>
                  <a:pt x="243" y="476"/>
                </a:moveTo>
                <a:cubicBezTo>
                  <a:pt x="142" y="447"/>
                  <a:pt x="84" y="343"/>
                  <a:pt x="112" y="243"/>
                </a:cubicBezTo>
                <a:cubicBezTo>
                  <a:pt x="140" y="142"/>
                  <a:pt x="245" y="84"/>
                  <a:pt x="345" y="112"/>
                </a:cubicBezTo>
                <a:cubicBezTo>
                  <a:pt x="446" y="141"/>
                  <a:pt x="504" y="245"/>
                  <a:pt x="476" y="345"/>
                </a:cubicBezTo>
                <a:cubicBezTo>
                  <a:pt x="447" y="446"/>
                  <a:pt x="343" y="504"/>
                  <a:pt x="243" y="47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2" name="Freeform 20">
            <a:extLst>
              <a:ext uri="{FF2B5EF4-FFF2-40B4-BE49-F238E27FC236}">
                <a16:creationId xmlns:a16="http://schemas.microsoft.com/office/drawing/2014/main" id="{4119EE63-2CCC-45D1-999C-196913453B11}"/>
              </a:ext>
            </a:extLst>
          </p:cNvPr>
          <p:cNvSpPr>
            <a:spLocks noEditPoints="1"/>
          </p:cNvSpPr>
          <p:nvPr/>
        </p:nvSpPr>
        <p:spPr bwMode="auto">
          <a:xfrm>
            <a:off x="2842428" y="2255694"/>
            <a:ext cx="1553322" cy="1551812"/>
          </a:xfrm>
          <a:custGeom>
            <a:avLst/>
            <a:gdLst>
              <a:gd name="T0" fmla="*/ 461 w 730"/>
              <a:gd name="T1" fmla="*/ 716 h 729"/>
              <a:gd name="T2" fmla="*/ 500 w 730"/>
              <a:gd name="T3" fmla="*/ 638 h 729"/>
              <a:gd name="T4" fmla="*/ 586 w 730"/>
              <a:gd name="T5" fmla="*/ 654 h 729"/>
              <a:gd name="T6" fmla="*/ 593 w 730"/>
              <a:gd name="T7" fmla="*/ 567 h 729"/>
              <a:gd name="T8" fmla="*/ 682 w 730"/>
              <a:gd name="T9" fmla="*/ 546 h 729"/>
              <a:gd name="T10" fmla="*/ 654 w 730"/>
              <a:gd name="T11" fmla="*/ 462 h 729"/>
              <a:gd name="T12" fmla="*/ 726 w 730"/>
              <a:gd name="T13" fmla="*/ 413 h 729"/>
              <a:gd name="T14" fmla="*/ 669 w 730"/>
              <a:gd name="T15" fmla="*/ 346 h 729"/>
              <a:gd name="T16" fmla="*/ 717 w 730"/>
              <a:gd name="T17" fmla="*/ 269 h 729"/>
              <a:gd name="T18" fmla="*/ 638 w 730"/>
              <a:gd name="T19" fmla="*/ 229 h 729"/>
              <a:gd name="T20" fmla="*/ 655 w 730"/>
              <a:gd name="T21" fmla="*/ 143 h 729"/>
              <a:gd name="T22" fmla="*/ 567 w 730"/>
              <a:gd name="T23" fmla="*/ 136 h 729"/>
              <a:gd name="T24" fmla="*/ 546 w 730"/>
              <a:gd name="T25" fmla="*/ 47 h 729"/>
              <a:gd name="T26" fmla="*/ 463 w 730"/>
              <a:gd name="T27" fmla="*/ 76 h 729"/>
              <a:gd name="T28" fmla="*/ 413 w 730"/>
              <a:gd name="T29" fmla="*/ 3 h 729"/>
              <a:gd name="T30" fmla="*/ 347 w 730"/>
              <a:gd name="T31" fmla="*/ 60 h 729"/>
              <a:gd name="T32" fmla="*/ 269 w 730"/>
              <a:gd name="T33" fmla="*/ 13 h 729"/>
              <a:gd name="T34" fmla="*/ 230 w 730"/>
              <a:gd name="T35" fmla="*/ 91 h 729"/>
              <a:gd name="T36" fmla="*/ 144 w 730"/>
              <a:gd name="T37" fmla="*/ 75 h 729"/>
              <a:gd name="T38" fmla="*/ 137 w 730"/>
              <a:gd name="T39" fmla="*/ 162 h 729"/>
              <a:gd name="T40" fmla="*/ 48 w 730"/>
              <a:gd name="T41" fmla="*/ 183 h 729"/>
              <a:gd name="T42" fmla="*/ 76 w 730"/>
              <a:gd name="T43" fmla="*/ 267 h 729"/>
              <a:gd name="T44" fmla="*/ 3 w 730"/>
              <a:gd name="T45" fmla="*/ 316 h 729"/>
              <a:gd name="T46" fmla="*/ 61 w 730"/>
              <a:gd name="T47" fmla="*/ 383 h 729"/>
              <a:gd name="T48" fmla="*/ 13 w 730"/>
              <a:gd name="T49" fmla="*/ 460 h 729"/>
              <a:gd name="T50" fmla="*/ 92 w 730"/>
              <a:gd name="T51" fmla="*/ 499 h 729"/>
              <a:gd name="T52" fmla="*/ 75 w 730"/>
              <a:gd name="T53" fmla="*/ 586 h 729"/>
              <a:gd name="T54" fmla="*/ 163 w 730"/>
              <a:gd name="T55" fmla="*/ 592 h 729"/>
              <a:gd name="T56" fmla="*/ 184 w 730"/>
              <a:gd name="T57" fmla="*/ 682 h 729"/>
              <a:gd name="T58" fmla="*/ 267 w 730"/>
              <a:gd name="T59" fmla="*/ 653 h 729"/>
              <a:gd name="T60" fmla="*/ 317 w 730"/>
              <a:gd name="T61" fmla="*/ 726 h 729"/>
              <a:gd name="T62" fmla="*/ 383 w 730"/>
              <a:gd name="T63" fmla="*/ 669 h 729"/>
              <a:gd name="T64" fmla="*/ 262 w 730"/>
              <a:gd name="T65" fmla="*/ 575 h 729"/>
              <a:gd name="T66" fmla="*/ 468 w 730"/>
              <a:gd name="T67" fmla="*/ 154 h 729"/>
              <a:gd name="T68" fmla="*/ 262 w 730"/>
              <a:gd name="T69" fmla="*/ 575 h 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30" h="729">
                <a:moveTo>
                  <a:pt x="426" y="663"/>
                </a:moveTo>
                <a:cubicBezTo>
                  <a:pt x="461" y="716"/>
                  <a:pt x="461" y="716"/>
                  <a:pt x="461" y="716"/>
                </a:cubicBezTo>
                <a:cubicBezTo>
                  <a:pt x="505" y="701"/>
                  <a:pt x="505" y="701"/>
                  <a:pt x="505" y="701"/>
                </a:cubicBezTo>
                <a:cubicBezTo>
                  <a:pt x="500" y="638"/>
                  <a:pt x="500" y="638"/>
                  <a:pt x="500" y="638"/>
                </a:cubicBezTo>
                <a:cubicBezTo>
                  <a:pt x="512" y="632"/>
                  <a:pt x="523" y="625"/>
                  <a:pt x="534" y="618"/>
                </a:cubicBezTo>
                <a:cubicBezTo>
                  <a:pt x="586" y="654"/>
                  <a:pt x="586" y="654"/>
                  <a:pt x="586" y="654"/>
                </a:cubicBezTo>
                <a:cubicBezTo>
                  <a:pt x="621" y="624"/>
                  <a:pt x="621" y="624"/>
                  <a:pt x="621" y="624"/>
                </a:cubicBezTo>
                <a:cubicBezTo>
                  <a:pt x="593" y="567"/>
                  <a:pt x="593" y="567"/>
                  <a:pt x="593" y="567"/>
                </a:cubicBezTo>
                <a:cubicBezTo>
                  <a:pt x="602" y="556"/>
                  <a:pt x="611" y="545"/>
                  <a:pt x="619" y="533"/>
                </a:cubicBezTo>
                <a:cubicBezTo>
                  <a:pt x="682" y="546"/>
                  <a:pt x="682" y="546"/>
                  <a:pt x="682" y="546"/>
                </a:cubicBezTo>
                <a:cubicBezTo>
                  <a:pt x="703" y="504"/>
                  <a:pt x="703" y="504"/>
                  <a:pt x="703" y="504"/>
                </a:cubicBezTo>
                <a:cubicBezTo>
                  <a:pt x="654" y="462"/>
                  <a:pt x="654" y="462"/>
                  <a:pt x="654" y="462"/>
                </a:cubicBezTo>
                <a:cubicBezTo>
                  <a:pt x="658" y="450"/>
                  <a:pt x="661" y="437"/>
                  <a:pt x="664" y="425"/>
                </a:cubicBezTo>
                <a:cubicBezTo>
                  <a:pt x="726" y="413"/>
                  <a:pt x="726" y="413"/>
                  <a:pt x="726" y="413"/>
                </a:cubicBezTo>
                <a:cubicBezTo>
                  <a:pt x="730" y="367"/>
                  <a:pt x="730" y="367"/>
                  <a:pt x="730" y="367"/>
                </a:cubicBezTo>
                <a:cubicBezTo>
                  <a:pt x="669" y="346"/>
                  <a:pt x="669" y="346"/>
                  <a:pt x="669" y="346"/>
                </a:cubicBezTo>
                <a:cubicBezTo>
                  <a:pt x="668" y="332"/>
                  <a:pt x="666" y="318"/>
                  <a:pt x="664" y="304"/>
                </a:cubicBezTo>
                <a:cubicBezTo>
                  <a:pt x="717" y="269"/>
                  <a:pt x="717" y="269"/>
                  <a:pt x="717" y="269"/>
                </a:cubicBezTo>
                <a:cubicBezTo>
                  <a:pt x="702" y="225"/>
                  <a:pt x="702" y="225"/>
                  <a:pt x="702" y="225"/>
                </a:cubicBezTo>
                <a:cubicBezTo>
                  <a:pt x="638" y="229"/>
                  <a:pt x="638" y="229"/>
                  <a:pt x="638" y="229"/>
                </a:cubicBezTo>
                <a:cubicBezTo>
                  <a:pt x="632" y="218"/>
                  <a:pt x="626" y="207"/>
                  <a:pt x="619" y="196"/>
                </a:cubicBezTo>
                <a:cubicBezTo>
                  <a:pt x="655" y="143"/>
                  <a:pt x="655" y="143"/>
                  <a:pt x="655" y="143"/>
                </a:cubicBezTo>
                <a:cubicBezTo>
                  <a:pt x="624" y="108"/>
                  <a:pt x="624" y="108"/>
                  <a:pt x="624" y="108"/>
                </a:cubicBezTo>
                <a:cubicBezTo>
                  <a:pt x="567" y="136"/>
                  <a:pt x="567" y="136"/>
                  <a:pt x="567" y="136"/>
                </a:cubicBezTo>
                <a:cubicBezTo>
                  <a:pt x="557" y="127"/>
                  <a:pt x="545" y="118"/>
                  <a:pt x="533" y="110"/>
                </a:cubicBezTo>
                <a:cubicBezTo>
                  <a:pt x="546" y="47"/>
                  <a:pt x="546" y="47"/>
                  <a:pt x="546" y="47"/>
                </a:cubicBezTo>
                <a:cubicBezTo>
                  <a:pt x="505" y="27"/>
                  <a:pt x="505" y="27"/>
                  <a:pt x="505" y="27"/>
                </a:cubicBezTo>
                <a:cubicBezTo>
                  <a:pt x="463" y="76"/>
                  <a:pt x="463" y="76"/>
                  <a:pt x="463" y="76"/>
                </a:cubicBezTo>
                <a:cubicBezTo>
                  <a:pt x="450" y="72"/>
                  <a:pt x="438" y="68"/>
                  <a:pt x="425" y="66"/>
                </a:cubicBezTo>
                <a:cubicBezTo>
                  <a:pt x="413" y="3"/>
                  <a:pt x="413" y="3"/>
                  <a:pt x="413" y="3"/>
                </a:cubicBezTo>
                <a:cubicBezTo>
                  <a:pt x="367" y="0"/>
                  <a:pt x="367" y="0"/>
                  <a:pt x="367" y="0"/>
                </a:cubicBezTo>
                <a:cubicBezTo>
                  <a:pt x="347" y="60"/>
                  <a:pt x="347" y="60"/>
                  <a:pt x="347" y="60"/>
                </a:cubicBezTo>
                <a:cubicBezTo>
                  <a:pt x="332" y="61"/>
                  <a:pt x="318" y="63"/>
                  <a:pt x="304" y="66"/>
                </a:cubicBezTo>
                <a:cubicBezTo>
                  <a:pt x="269" y="13"/>
                  <a:pt x="269" y="13"/>
                  <a:pt x="269" y="13"/>
                </a:cubicBezTo>
                <a:cubicBezTo>
                  <a:pt x="225" y="28"/>
                  <a:pt x="225" y="28"/>
                  <a:pt x="225" y="28"/>
                </a:cubicBezTo>
                <a:cubicBezTo>
                  <a:pt x="230" y="91"/>
                  <a:pt x="230" y="91"/>
                  <a:pt x="230" y="91"/>
                </a:cubicBezTo>
                <a:cubicBezTo>
                  <a:pt x="218" y="97"/>
                  <a:pt x="207" y="103"/>
                  <a:pt x="196" y="111"/>
                </a:cubicBezTo>
                <a:cubicBezTo>
                  <a:pt x="144" y="75"/>
                  <a:pt x="144" y="75"/>
                  <a:pt x="144" y="75"/>
                </a:cubicBezTo>
                <a:cubicBezTo>
                  <a:pt x="109" y="105"/>
                  <a:pt x="109" y="105"/>
                  <a:pt x="109" y="105"/>
                </a:cubicBezTo>
                <a:cubicBezTo>
                  <a:pt x="137" y="162"/>
                  <a:pt x="137" y="162"/>
                  <a:pt x="137" y="162"/>
                </a:cubicBezTo>
                <a:cubicBezTo>
                  <a:pt x="128" y="173"/>
                  <a:pt x="119" y="184"/>
                  <a:pt x="111" y="196"/>
                </a:cubicBezTo>
                <a:cubicBezTo>
                  <a:pt x="48" y="183"/>
                  <a:pt x="48" y="183"/>
                  <a:pt x="48" y="183"/>
                </a:cubicBezTo>
                <a:cubicBezTo>
                  <a:pt x="27" y="225"/>
                  <a:pt x="27" y="225"/>
                  <a:pt x="27" y="225"/>
                </a:cubicBezTo>
                <a:cubicBezTo>
                  <a:pt x="76" y="267"/>
                  <a:pt x="76" y="267"/>
                  <a:pt x="76" y="267"/>
                </a:cubicBezTo>
                <a:cubicBezTo>
                  <a:pt x="72" y="279"/>
                  <a:pt x="69" y="292"/>
                  <a:pt x="66" y="304"/>
                </a:cubicBezTo>
                <a:cubicBezTo>
                  <a:pt x="3" y="316"/>
                  <a:pt x="3" y="316"/>
                  <a:pt x="3" y="316"/>
                </a:cubicBezTo>
                <a:cubicBezTo>
                  <a:pt x="0" y="362"/>
                  <a:pt x="0" y="362"/>
                  <a:pt x="0" y="362"/>
                </a:cubicBezTo>
                <a:cubicBezTo>
                  <a:pt x="61" y="383"/>
                  <a:pt x="61" y="383"/>
                  <a:pt x="61" y="383"/>
                </a:cubicBezTo>
                <a:cubicBezTo>
                  <a:pt x="62" y="397"/>
                  <a:pt x="63" y="411"/>
                  <a:pt x="66" y="425"/>
                </a:cubicBezTo>
                <a:cubicBezTo>
                  <a:pt x="13" y="460"/>
                  <a:pt x="13" y="460"/>
                  <a:pt x="13" y="460"/>
                </a:cubicBezTo>
                <a:cubicBezTo>
                  <a:pt x="28" y="504"/>
                  <a:pt x="28" y="504"/>
                  <a:pt x="28" y="504"/>
                </a:cubicBezTo>
                <a:cubicBezTo>
                  <a:pt x="92" y="499"/>
                  <a:pt x="92" y="499"/>
                  <a:pt x="92" y="499"/>
                </a:cubicBezTo>
                <a:cubicBezTo>
                  <a:pt x="97" y="511"/>
                  <a:pt x="104" y="522"/>
                  <a:pt x="111" y="533"/>
                </a:cubicBezTo>
                <a:cubicBezTo>
                  <a:pt x="75" y="586"/>
                  <a:pt x="75" y="586"/>
                  <a:pt x="75" y="586"/>
                </a:cubicBezTo>
                <a:cubicBezTo>
                  <a:pt x="106" y="621"/>
                  <a:pt x="106" y="621"/>
                  <a:pt x="106" y="621"/>
                </a:cubicBezTo>
                <a:cubicBezTo>
                  <a:pt x="163" y="592"/>
                  <a:pt x="163" y="592"/>
                  <a:pt x="163" y="592"/>
                </a:cubicBezTo>
                <a:cubicBezTo>
                  <a:pt x="173" y="602"/>
                  <a:pt x="185" y="611"/>
                  <a:pt x="197" y="619"/>
                </a:cubicBezTo>
                <a:cubicBezTo>
                  <a:pt x="184" y="682"/>
                  <a:pt x="184" y="682"/>
                  <a:pt x="184" y="682"/>
                </a:cubicBezTo>
                <a:cubicBezTo>
                  <a:pt x="225" y="702"/>
                  <a:pt x="225" y="702"/>
                  <a:pt x="225" y="702"/>
                </a:cubicBezTo>
                <a:cubicBezTo>
                  <a:pt x="267" y="653"/>
                  <a:pt x="267" y="653"/>
                  <a:pt x="267" y="653"/>
                </a:cubicBezTo>
                <a:cubicBezTo>
                  <a:pt x="280" y="657"/>
                  <a:pt x="292" y="661"/>
                  <a:pt x="305" y="663"/>
                </a:cubicBezTo>
                <a:cubicBezTo>
                  <a:pt x="317" y="726"/>
                  <a:pt x="317" y="726"/>
                  <a:pt x="317" y="726"/>
                </a:cubicBezTo>
                <a:cubicBezTo>
                  <a:pt x="363" y="729"/>
                  <a:pt x="363" y="729"/>
                  <a:pt x="363" y="729"/>
                </a:cubicBezTo>
                <a:cubicBezTo>
                  <a:pt x="383" y="669"/>
                  <a:pt x="383" y="669"/>
                  <a:pt x="383" y="669"/>
                </a:cubicBezTo>
                <a:cubicBezTo>
                  <a:pt x="397" y="668"/>
                  <a:pt x="412" y="666"/>
                  <a:pt x="426" y="663"/>
                </a:cubicBezTo>
                <a:close/>
                <a:moveTo>
                  <a:pt x="262" y="575"/>
                </a:moveTo>
                <a:cubicBezTo>
                  <a:pt x="146" y="518"/>
                  <a:pt x="97" y="377"/>
                  <a:pt x="154" y="261"/>
                </a:cubicBezTo>
                <a:cubicBezTo>
                  <a:pt x="211" y="145"/>
                  <a:pt x="352" y="97"/>
                  <a:pt x="468" y="154"/>
                </a:cubicBezTo>
                <a:cubicBezTo>
                  <a:pt x="584" y="211"/>
                  <a:pt x="632" y="351"/>
                  <a:pt x="575" y="468"/>
                </a:cubicBezTo>
                <a:cubicBezTo>
                  <a:pt x="518" y="584"/>
                  <a:pt x="378" y="632"/>
                  <a:pt x="262" y="5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3" name="Freeform 22">
            <a:extLst>
              <a:ext uri="{FF2B5EF4-FFF2-40B4-BE49-F238E27FC236}">
                <a16:creationId xmlns:a16="http://schemas.microsoft.com/office/drawing/2014/main" id="{3D1A91F6-D772-4EA5-A9C2-A7E0F1582E20}"/>
              </a:ext>
            </a:extLst>
          </p:cNvPr>
          <p:cNvSpPr>
            <a:spLocks noEditPoints="1"/>
          </p:cNvSpPr>
          <p:nvPr/>
        </p:nvSpPr>
        <p:spPr bwMode="auto">
          <a:xfrm>
            <a:off x="2280878" y="3668627"/>
            <a:ext cx="1547283" cy="1548793"/>
          </a:xfrm>
          <a:custGeom>
            <a:avLst/>
            <a:gdLst>
              <a:gd name="T0" fmla="*/ 435 w 727"/>
              <a:gd name="T1" fmla="*/ 721 h 727"/>
              <a:gd name="T2" fmla="*/ 479 w 727"/>
              <a:gd name="T3" fmla="*/ 645 h 727"/>
              <a:gd name="T4" fmla="*/ 564 w 727"/>
              <a:gd name="T5" fmla="*/ 668 h 727"/>
              <a:gd name="T6" fmla="*/ 577 w 727"/>
              <a:gd name="T7" fmla="*/ 581 h 727"/>
              <a:gd name="T8" fmla="*/ 668 w 727"/>
              <a:gd name="T9" fmla="*/ 566 h 727"/>
              <a:gd name="T10" fmla="*/ 645 w 727"/>
              <a:gd name="T11" fmla="*/ 481 h 727"/>
              <a:gd name="T12" fmla="*/ 721 w 727"/>
              <a:gd name="T13" fmla="*/ 436 h 727"/>
              <a:gd name="T14" fmla="*/ 668 w 727"/>
              <a:gd name="T15" fmla="*/ 366 h 727"/>
              <a:gd name="T16" fmla="*/ 721 w 727"/>
              <a:gd name="T17" fmla="*/ 292 h 727"/>
              <a:gd name="T18" fmla="*/ 645 w 727"/>
              <a:gd name="T19" fmla="*/ 247 h 727"/>
              <a:gd name="T20" fmla="*/ 668 w 727"/>
              <a:gd name="T21" fmla="*/ 162 h 727"/>
              <a:gd name="T22" fmla="*/ 581 w 727"/>
              <a:gd name="T23" fmla="*/ 150 h 727"/>
              <a:gd name="T24" fmla="*/ 566 w 727"/>
              <a:gd name="T25" fmla="*/ 59 h 727"/>
              <a:gd name="T26" fmla="*/ 481 w 727"/>
              <a:gd name="T27" fmla="*/ 82 h 727"/>
              <a:gd name="T28" fmla="*/ 436 w 727"/>
              <a:gd name="T29" fmla="*/ 6 h 727"/>
              <a:gd name="T30" fmla="*/ 366 w 727"/>
              <a:gd name="T31" fmla="*/ 58 h 727"/>
              <a:gd name="T32" fmla="*/ 292 w 727"/>
              <a:gd name="T33" fmla="*/ 6 h 727"/>
              <a:gd name="T34" fmla="*/ 247 w 727"/>
              <a:gd name="T35" fmla="*/ 81 h 727"/>
              <a:gd name="T36" fmla="*/ 162 w 727"/>
              <a:gd name="T37" fmla="*/ 59 h 727"/>
              <a:gd name="T38" fmla="*/ 150 w 727"/>
              <a:gd name="T39" fmla="*/ 146 h 727"/>
              <a:gd name="T40" fmla="*/ 59 w 727"/>
              <a:gd name="T41" fmla="*/ 161 h 727"/>
              <a:gd name="T42" fmla="*/ 82 w 727"/>
              <a:gd name="T43" fmla="*/ 246 h 727"/>
              <a:gd name="T44" fmla="*/ 6 w 727"/>
              <a:gd name="T45" fmla="*/ 290 h 727"/>
              <a:gd name="T46" fmla="*/ 59 w 727"/>
              <a:gd name="T47" fmla="*/ 361 h 727"/>
              <a:gd name="T48" fmla="*/ 6 w 727"/>
              <a:gd name="T49" fmla="*/ 435 h 727"/>
              <a:gd name="T50" fmla="*/ 82 w 727"/>
              <a:gd name="T51" fmla="*/ 479 h 727"/>
              <a:gd name="T52" fmla="*/ 59 w 727"/>
              <a:gd name="T53" fmla="*/ 564 h 727"/>
              <a:gd name="T54" fmla="*/ 146 w 727"/>
              <a:gd name="T55" fmla="*/ 577 h 727"/>
              <a:gd name="T56" fmla="*/ 161 w 727"/>
              <a:gd name="T57" fmla="*/ 667 h 727"/>
              <a:gd name="T58" fmla="*/ 246 w 727"/>
              <a:gd name="T59" fmla="*/ 645 h 727"/>
              <a:gd name="T60" fmla="*/ 290 w 727"/>
              <a:gd name="T61" fmla="*/ 721 h 727"/>
              <a:gd name="T62" fmla="*/ 361 w 727"/>
              <a:gd name="T63" fmla="*/ 668 h 727"/>
              <a:gd name="T64" fmla="*/ 246 w 727"/>
              <a:gd name="T65" fmla="*/ 566 h 727"/>
              <a:gd name="T66" fmla="*/ 481 w 727"/>
              <a:gd name="T67" fmla="*/ 160 h 727"/>
              <a:gd name="T68" fmla="*/ 246 w 727"/>
              <a:gd name="T69" fmla="*/ 566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27" h="727">
                <a:moveTo>
                  <a:pt x="404" y="665"/>
                </a:moveTo>
                <a:cubicBezTo>
                  <a:pt x="435" y="721"/>
                  <a:pt x="435" y="721"/>
                  <a:pt x="435" y="721"/>
                </a:cubicBezTo>
                <a:cubicBezTo>
                  <a:pt x="480" y="709"/>
                  <a:pt x="480" y="709"/>
                  <a:pt x="480" y="709"/>
                </a:cubicBezTo>
                <a:cubicBezTo>
                  <a:pt x="479" y="645"/>
                  <a:pt x="479" y="645"/>
                  <a:pt x="479" y="645"/>
                </a:cubicBezTo>
                <a:cubicBezTo>
                  <a:pt x="491" y="640"/>
                  <a:pt x="503" y="634"/>
                  <a:pt x="514" y="628"/>
                </a:cubicBezTo>
                <a:cubicBezTo>
                  <a:pt x="564" y="668"/>
                  <a:pt x="564" y="668"/>
                  <a:pt x="564" y="668"/>
                </a:cubicBezTo>
                <a:cubicBezTo>
                  <a:pt x="601" y="640"/>
                  <a:pt x="601" y="640"/>
                  <a:pt x="601" y="640"/>
                </a:cubicBezTo>
                <a:cubicBezTo>
                  <a:pt x="577" y="581"/>
                  <a:pt x="577" y="581"/>
                  <a:pt x="577" y="581"/>
                </a:cubicBezTo>
                <a:cubicBezTo>
                  <a:pt x="587" y="571"/>
                  <a:pt x="597" y="560"/>
                  <a:pt x="605" y="548"/>
                </a:cubicBezTo>
                <a:cubicBezTo>
                  <a:pt x="668" y="566"/>
                  <a:pt x="668" y="566"/>
                  <a:pt x="668" y="566"/>
                </a:cubicBezTo>
                <a:cubicBezTo>
                  <a:pt x="691" y="526"/>
                  <a:pt x="691" y="526"/>
                  <a:pt x="691" y="526"/>
                </a:cubicBezTo>
                <a:cubicBezTo>
                  <a:pt x="645" y="481"/>
                  <a:pt x="645" y="481"/>
                  <a:pt x="645" y="481"/>
                </a:cubicBezTo>
                <a:cubicBezTo>
                  <a:pt x="650" y="468"/>
                  <a:pt x="654" y="456"/>
                  <a:pt x="657" y="444"/>
                </a:cubicBezTo>
                <a:cubicBezTo>
                  <a:pt x="721" y="436"/>
                  <a:pt x="721" y="436"/>
                  <a:pt x="721" y="436"/>
                </a:cubicBezTo>
                <a:cubicBezTo>
                  <a:pt x="727" y="390"/>
                  <a:pt x="727" y="390"/>
                  <a:pt x="727" y="390"/>
                </a:cubicBezTo>
                <a:cubicBezTo>
                  <a:pt x="668" y="366"/>
                  <a:pt x="668" y="366"/>
                  <a:pt x="668" y="366"/>
                </a:cubicBezTo>
                <a:cubicBezTo>
                  <a:pt x="668" y="352"/>
                  <a:pt x="667" y="337"/>
                  <a:pt x="666" y="323"/>
                </a:cubicBezTo>
                <a:cubicBezTo>
                  <a:pt x="721" y="292"/>
                  <a:pt x="721" y="292"/>
                  <a:pt x="721" y="292"/>
                </a:cubicBezTo>
                <a:cubicBezTo>
                  <a:pt x="709" y="247"/>
                  <a:pt x="709" y="247"/>
                  <a:pt x="709" y="247"/>
                </a:cubicBezTo>
                <a:cubicBezTo>
                  <a:pt x="645" y="247"/>
                  <a:pt x="645" y="247"/>
                  <a:pt x="645" y="247"/>
                </a:cubicBezTo>
                <a:cubicBezTo>
                  <a:pt x="640" y="235"/>
                  <a:pt x="635" y="224"/>
                  <a:pt x="628" y="212"/>
                </a:cubicBezTo>
                <a:cubicBezTo>
                  <a:pt x="668" y="162"/>
                  <a:pt x="668" y="162"/>
                  <a:pt x="668" y="162"/>
                </a:cubicBezTo>
                <a:cubicBezTo>
                  <a:pt x="640" y="125"/>
                  <a:pt x="640" y="125"/>
                  <a:pt x="640" y="125"/>
                </a:cubicBezTo>
                <a:cubicBezTo>
                  <a:pt x="581" y="150"/>
                  <a:pt x="581" y="150"/>
                  <a:pt x="581" y="150"/>
                </a:cubicBezTo>
                <a:cubicBezTo>
                  <a:pt x="571" y="140"/>
                  <a:pt x="560" y="130"/>
                  <a:pt x="549" y="121"/>
                </a:cubicBezTo>
                <a:cubicBezTo>
                  <a:pt x="566" y="59"/>
                  <a:pt x="566" y="59"/>
                  <a:pt x="566" y="59"/>
                </a:cubicBezTo>
                <a:cubicBezTo>
                  <a:pt x="526" y="36"/>
                  <a:pt x="526" y="36"/>
                  <a:pt x="526" y="36"/>
                </a:cubicBezTo>
                <a:cubicBezTo>
                  <a:pt x="481" y="82"/>
                  <a:pt x="481" y="82"/>
                  <a:pt x="481" y="82"/>
                </a:cubicBezTo>
                <a:cubicBezTo>
                  <a:pt x="469" y="77"/>
                  <a:pt x="456" y="73"/>
                  <a:pt x="444" y="69"/>
                </a:cubicBezTo>
                <a:cubicBezTo>
                  <a:pt x="436" y="6"/>
                  <a:pt x="436" y="6"/>
                  <a:pt x="436" y="6"/>
                </a:cubicBezTo>
                <a:cubicBezTo>
                  <a:pt x="391" y="0"/>
                  <a:pt x="391" y="0"/>
                  <a:pt x="391" y="0"/>
                </a:cubicBezTo>
                <a:cubicBezTo>
                  <a:pt x="366" y="58"/>
                  <a:pt x="366" y="58"/>
                  <a:pt x="366" y="58"/>
                </a:cubicBezTo>
                <a:cubicBezTo>
                  <a:pt x="352" y="58"/>
                  <a:pt x="337" y="59"/>
                  <a:pt x="323" y="61"/>
                </a:cubicBezTo>
                <a:cubicBezTo>
                  <a:pt x="292" y="6"/>
                  <a:pt x="292" y="6"/>
                  <a:pt x="292" y="6"/>
                </a:cubicBezTo>
                <a:cubicBezTo>
                  <a:pt x="247" y="18"/>
                  <a:pt x="247" y="18"/>
                  <a:pt x="247" y="18"/>
                </a:cubicBezTo>
                <a:cubicBezTo>
                  <a:pt x="247" y="81"/>
                  <a:pt x="247" y="81"/>
                  <a:pt x="247" y="81"/>
                </a:cubicBezTo>
                <a:cubicBezTo>
                  <a:pt x="235" y="86"/>
                  <a:pt x="224" y="92"/>
                  <a:pt x="212" y="98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25" y="87"/>
                  <a:pt x="125" y="87"/>
                  <a:pt x="125" y="87"/>
                </a:cubicBezTo>
                <a:cubicBezTo>
                  <a:pt x="150" y="146"/>
                  <a:pt x="150" y="146"/>
                  <a:pt x="150" y="146"/>
                </a:cubicBezTo>
                <a:cubicBezTo>
                  <a:pt x="140" y="156"/>
                  <a:pt x="130" y="166"/>
                  <a:pt x="121" y="178"/>
                </a:cubicBezTo>
                <a:cubicBezTo>
                  <a:pt x="59" y="161"/>
                  <a:pt x="59" y="161"/>
                  <a:pt x="59" y="161"/>
                </a:cubicBezTo>
                <a:cubicBezTo>
                  <a:pt x="36" y="201"/>
                  <a:pt x="36" y="201"/>
                  <a:pt x="36" y="201"/>
                </a:cubicBezTo>
                <a:cubicBezTo>
                  <a:pt x="82" y="246"/>
                  <a:pt x="82" y="246"/>
                  <a:pt x="82" y="246"/>
                </a:cubicBezTo>
                <a:cubicBezTo>
                  <a:pt x="77" y="258"/>
                  <a:pt x="73" y="270"/>
                  <a:pt x="69" y="283"/>
                </a:cubicBezTo>
                <a:cubicBezTo>
                  <a:pt x="6" y="290"/>
                  <a:pt x="6" y="290"/>
                  <a:pt x="6" y="290"/>
                </a:cubicBezTo>
                <a:cubicBezTo>
                  <a:pt x="0" y="336"/>
                  <a:pt x="0" y="336"/>
                  <a:pt x="0" y="336"/>
                </a:cubicBezTo>
                <a:cubicBezTo>
                  <a:pt x="59" y="361"/>
                  <a:pt x="59" y="361"/>
                  <a:pt x="59" y="361"/>
                </a:cubicBezTo>
                <a:cubicBezTo>
                  <a:pt x="59" y="375"/>
                  <a:pt x="59" y="389"/>
                  <a:pt x="61" y="403"/>
                </a:cubicBezTo>
                <a:cubicBezTo>
                  <a:pt x="6" y="435"/>
                  <a:pt x="6" y="435"/>
                  <a:pt x="6" y="435"/>
                </a:cubicBezTo>
                <a:cubicBezTo>
                  <a:pt x="18" y="480"/>
                  <a:pt x="18" y="480"/>
                  <a:pt x="18" y="480"/>
                </a:cubicBezTo>
                <a:cubicBezTo>
                  <a:pt x="82" y="479"/>
                  <a:pt x="82" y="479"/>
                  <a:pt x="82" y="479"/>
                </a:cubicBezTo>
                <a:cubicBezTo>
                  <a:pt x="87" y="491"/>
                  <a:pt x="92" y="503"/>
                  <a:pt x="99" y="514"/>
                </a:cubicBezTo>
                <a:cubicBezTo>
                  <a:pt x="59" y="564"/>
                  <a:pt x="59" y="564"/>
                  <a:pt x="59" y="564"/>
                </a:cubicBezTo>
                <a:cubicBezTo>
                  <a:pt x="87" y="601"/>
                  <a:pt x="87" y="601"/>
                  <a:pt x="87" y="601"/>
                </a:cubicBezTo>
                <a:cubicBezTo>
                  <a:pt x="146" y="577"/>
                  <a:pt x="146" y="577"/>
                  <a:pt x="146" y="577"/>
                </a:cubicBezTo>
                <a:cubicBezTo>
                  <a:pt x="156" y="587"/>
                  <a:pt x="167" y="596"/>
                  <a:pt x="178" y="605"/>
                </a:cubicBezTo>
                <a:cubicBezTo>
                  <a:pt x="161" y="667"/>
                  <a:pt x="161" y="667"/>
                  <a:pt x="161" y="667"/>
                </a:cubicBezTo>
                <a:cubicBezTo>
                  <a:pt x="201" y="691"/>
                  <a:pt x="201" y="691"/>
                  <a:pt x="201" y="691"/>
                </a:cubicBezTo>
                <a:cubicBezTo>
                  <a:pt x="246" y="645"/>
                  <a:pt x="246" y="645"/>
                  <a:pt x="246" y="645"/>
                </a:cubicBezTo>
                <a:cubicBezTo>
                  <a:pt x="258" y="650"/>
                  <a:pt x="271" y="654"/>
                  <a:pt x="283" y="657"/>
                </a:cubicBezTo>
                <a:cubicBezTo>
                  <a:pt x="290" y="721"/>
                  <a:pt x="290" y="721"/>
                  <a:pt x="290" y="721"/>
                </a:cubicBezTo>
                <a:cubicBezTo>
                  <a:pt x="336" y="727"/>
                  <a:pt x="336" y="727"/>
                  <a:pt x="336" y="727"/>
                </a:cubicBezTo>
                <a:cubicBezTo>
                  <a:pt x="361" y="668"/>
                  <a:pt x="361" y="668"/>
                  <a:pt x="361" y="668"/>
                </a:cubicBezTo>
                <a:cubicBezTo>
                  <a:pt x="375" y="668"/>
                  <a:pt x="389" y="667"/>
                  <a:pt x="404" y="665"/>
                </a:cubicBezTo>
                <a:close/>
                <a:moveTo>
                  <a:pt x="246" y="566"/>
                </a:moveTo>
                <a:cubicBezTo>
                  <a:pt x="134" y="501"/>
                  <a:pt x="96" y="358"/>
                  <a:pt x="160" y="246"/>
                </a:cubicBezTo>
                <a:cubicBezTo>
                  <a:pt x="225" y="134"/>
                  <a:pt x="369" y="95"/>
                  <a:pt x="481" y="160"/>
                </a:cubicBezTo>
                <a:cubicBezTo>
                  <a:pt x="593" y="225"/>
                  <a:pt x="631" y="368"/>
                  <a:pt x="566" y="481"/>
                </a:cubicBezTo>
                <a:cubicBezTo>
                  <a:pt x="502" y="593"/>
                  <a:pt x="358" y="631"/>
                  <a:pt x="246" y="56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4" name="Freeform 24">
            <a:extLst>
              <a:ext uri="{FF2B5EF4-FFF2-40B4-BE49-F238E27FC236}">
                <a16:creationId xmlns:a16="http://schemas.microsoft.com/office/drawing/2014/main" id="{319DCEB5-50BF-435D-881D-068528A557D0}"/>
              </a:ext>
            </a:extLst>
          </p:cNvPr>
          <p:cNvSpPr>
            <a:spLocks noEditPoints="1"/>
          </p:cNvSpPr>
          <p:nvPr/>
        </p:nvSpPr>
        <p:spPr bwMode="auto">
          <a:xfrm>
            <a:off x="1216648" y="2359853"/>
            <a:ext cx="1547283" cy="1550301"/>
          </a:xfrm>
          <a:custGeom>
            <a:avLst/>
            <a:gdLst>
              <a:gd name="T0" fmla="*/ 435 w 727"/>
              <a:gd name="T1" fmla="*/ 722 h 728"/>
              <a:gd name="T2" fmla="*/ 479 w 727"/>
              <a:gd name="T3" fmla="*/ 646 h 728"/>
              <a:gd name="T4" fmla="*/ 565 w 727"/>
              <a:gd name="T5" fmla="*/ 668 h 728"/>
              <a:gd name="T6" fmla="*/ 577 w 727"/>
              <a:gd name="T7" fmla="*/ 582 h 728"/>
              <a:gd name="T8" fmla="*/ 668 w 727"/>
              <a:gd name="T9" fmla="*/ 567 h 728"/>
              <a:gd name="T10" fmla="*/ 645 w 727"/>
              <a:gd name="T11" fmla="*/ 481 h 728"/>
              <a:gd name="T12" fmla="*/ 721 w 727"/>
              <a:gd name="T13" fmla="*/ 437 h 728"/>
              <a:gd name="T14" fmla="*/ 668 w 727"/>
              <a:gd name="T15" fmla="*/ 367 h 728"/>
              <a:gd name="T16" fmla="*/ 721 w 727"/>
              <a:gd name="T17" fmla="*/ 293 h 728"/>
              <a:gd name="T18" fmla="*/ 645 w 727"/>
              <a:gd name="T19" fmla="*/ 248 h 728"/>
              <a:gd name="T20" fmla="*/ 668 w 727"/>
              <a:gd name="T21" fmla="*/ 163 h 728"/>
              <a:gd name="T22" fmla="*/ 581 w 727"/>
              <a:gd name="T23" fmla="*/ 151 h 728"/>
              <a:gd name="T24" fmla="*/ 566 w 727"/>
              <a:gd name="T25" fmla="*/ 60 h 728"/>
              <a:gd name="T26" fmla="*/ 481 w 727"/>
              <a:gd name="T27" fmla="*/ 83 h 728"/>
              <a:gd name="T28" fmla="*/ 436 w 727"/>
              <a:gd name="T29" fmla="*/ 7 h 728"/>
              <a:gd name="T30" fmla="*/ 366 w 727"/>
              <a:gd name="T31" fmla="*/ 59 h 728"/>
              <a:gd name="T32" fmla="*/ 292 w 727"/>
              <a:gd name="T33" fmla="*/ 7 h 728"/>
              <a:gd name="T34" fmla="*/ 247 w 727"/>
              <a:gd name="T35" fmla="*/ 82 h 728"/>
              <a:gd name="T36" fmla="*/ 162 w 727"/>
              <a:gd name="T37" fmla="*/ 60 h 728"/>
              <a:gd name="T38" fmla="*/ 150 w 727"/>
              <a:gd name="T39" fmla="*/ 147 h 728"/>
              <a:gd name="T40" fmla="*/ 59 w 727"/>
              <a:gd name="T41" fmla="*/ 162 h 728"/>
              <a:gd name="T42" fmla="*/ 82 w 727"/>
              <a:gd name="T43" fmla="*/ 247 h 728"/>
              <a:gd name="T44" fmla="*/ 6 w 727"/>
              <a:gd name="T45" fmla="*/ 291 h 728"/>
              <a:gd name="T46" fmla="*/ 59 w 727"/>
              <a:gd name="T47" fmla="*/ 361 h 728"/>
              <a:gd name="T48" fmla="*/ 6 w 727"/>
              <a:gd name="T49" fmla="*/ 436 h 728"/>
              <a:gd name="T50" fmla="*/ 82 w 727"/>
              <a:gd name="T51" fmla="*/ 480 h 728"/>
              <a:gd name="T52" fmla="*/ 59 w 727"/>
              <a:gd name="T53" fmla="*/ 565 h 728"/>
              <a:gd name="T54" fmla="*/ 146 w 727"/>
              <a:gd name="T55" fmla="*/ 578 h 728"/>
              <a:gd name="T56" fmla="*/ 161 w 727"/>
              <a:gd name="T57" fmla="*/ 668 h 728"/>
              <a:gd name="T58" fmla="*/ 246 w 727"/>
              <a:gd name="T59" fmla="*/ 645 h 728"/>
              <a:gd name="T60" fmla="*/ 290 w 727"/>
              <a:gd name="T61" fmla="*/ 721 h 728"/>
              <a:gd name="T62" fmla="*/ 361 w 727"/>
              <a:gd name="T63" fmla="*/ 669 h 728"/>
              <a:gd name="T64" fmla="*/ 246 w 727"/>
              <a:gd name="T65" fmla="*/ 567 h 728"/>
              <a:gd name="T66" fmla="*/ 481 w 727"/>
              <a:gd name="T67" fmla="*/ 161 h 728"/>
              <a:gd name="T68" fmla="*/ 246 w 727"/>
              <a:gd name="T69" fmla="*/ 567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27" h="728">
                <a:moveTo>
                  <a:pt x="404" y="666"/>
                </a:moveTo>
                <a:cubicBezTo>
                  <a:pt x="435" y="722"/>
                  <a:pt x="435" y="722"/>
                  <a:pt x="435" y="722"/>
                </a:cubicBezTo>
                <a:cubicBezTo>
                  <a:pt x="480" y="710"/>
                  <a:pt x="480" y="710"/>
                  <a:pt x="480" y="710"/>
                </a:cubicBezTo>
                <a:cubicBezTo>
                  <a:pt x="479" y="646"/>
                  <a:pt x="479" y="646"/>
                  <a:pt x="479" y="646"/>
                </a:cubicBezTo>
                <a:cubicBezTo>
                  <a:pt x="491" y="641"/>
                  <a:pt x="503" y="635"/>
                  <a:pt x="514" y="629"/>
                </a:cubicBezTo>
                <a:cubicBezTo>
                  <a:pt x="565" y="668"/>
                  <a:pt x="565" y="668"/>
                  <a:pt x="565" y="668"/>
                </a:cubicBezTo>
                <a:cubicBezTo>
                  <a:pt x="601" y="640"/>
                  <a:pt x="601" y="640"/>
                  <a:pt x="601" y="640"/>
                </a:cubicBezTo>
                <a:cubicBezTo>
                  <a:pt x="577" y="582"/>
                  <a:pt x="577" y="582"/>
                  <a:pt x="577" y="582"/>
                </a:cubicBezTo>
                <a:cubicBezTo>
                  <a:pt x="587" y="572"/>
                  <a:pt x="597" y="561"/>
                  <a:pt x="605" y="549"/>
                </a:cubicBezTo>
                <a:cubicBezTo>
                  <a:pt x="668" y="567"/>
                  <a:pt x="668" y="567"/>
                  <a:pt x="668" y="567"/>
                </a:cubicBezTo>
                <a:cubicBezTo>
                  <a:pt x="691" y="527"/>
                  <a:pt x="691" y="527"/>
                  <a:pt x="691" y="527"/>
                </a:cubicBezTo>
                <a:cubicBezTo>
                  <a:pt x="645" y="481"/>
                  <a:pt x="645" y="481"/>
                  <a:pt x="645" y="481"/>
                </a:cubicBezTo>
                <a:cubicBezTo>
                  <a:pt x="650" y="469"/>
                  <a:pt x="654" y="457"/>
                  <a:pt x="657" y="445"/>
                </a:cubicBezTo>
                <a:cubicBezTo>
                  <a:pt x="721" y="437"/>
                  <a:pt x="721" y="437"/>
                  <a:pt x="721" y="437"/>
                </a:cubicBezTo>
                <a:cubicBezTo>
                  <a:pt x="727" y="391"/>
                  <a:pt x="727" y="391"/>
                  <a:pt x="727" y="391"/>
                </a:cubicBezTo>
                <a:cubicBezTo>
                  <a:pt x="668" y="367"/>
                  <a:pt x="668" y="367"/>
                  <a:pt x="668" y="367"/>
                </a:cubicBezTo>
                <a:cubicBezTo>
                  <a:pt x="668" y="352"/>
                  <a:pt x="667" y="338"/>
                  <a:pt x="666" y="324"/>
                </a:cubicBezTo>
                <a:cubicBezTo>
                  <a:pt x="721" y="293"/>
                  <a:pt x="721" y="293"/>
                  <a:pt x="721" y="293"/>
                </a:cubicBezTo>
                <a:cubicBezTo>
                  <a:pt x="709" y="248"/>
                  <a:pt x="709" y="248"/>
                  <a:pt x="709" y="248"/>
                </a:cubicBezTo>
                <a:cubicBezTo>
                  <a:pt x="645" y="248"/>
                  <a:pt x="645" y="248"/>
                  <a:pt x="645" y="248"/>
                </a:cubicBezTo>
                <a:cubicBezTo>
                  <a:pt x="640" y="236"/>
                  <a:pt x="635" y="224"/>
                  <a:pt x="628" y="213"/>
                </a:cubicBezTo>
                <a:cubicBezTo>
                  <a:pt x="668" y="163"/>
                  <a:pt x="668" y="163"/>
                  <a:pt x="668" y="163"/>
                </a:cubicBezTo>
                <a:cubicBezTo>
                  <a:pt x="640" y="126"/>
                  <a:pt x="640" y="126"/>
                  <a:pt x="640" y="126"/>
                </a:cubicBezTo>
                <a:cubicBezTo>
                  <a:pt x="581" y="151"/>
                  <a:pt x="581" y="151"/>
                  <a:pt x="581" y="151"/>
                </a:cubicBezTo>
                <a:cubicBezTo>
                  <a:pt x="571" y="140"/>
                  <a:pt x="560" y="131"/>
                  <a:pt x="549" y="122"/>
                </a:cubicBezTo>
                <a:cubicBezTo>
                  <a:pt x="566" y="60"/>
                  <a:pt x="566" y="60"/>
                  <a:pt x="566" y="60"/>
                </a:cubicBezTo>
                <a:cubicBezTo>
                  <a:pt x="526" y="37"/>
                  <a:pt x="526" y="37"/>
                  <a:pt x="526" y="37"/>
                </a:cubicBezTo>
                <a:cubicBezTo>
                  <a:pt x="481" y="83"/>
                  <a:pt x="481" y="83"/>
                  <a:pt x="481" y="83"/>
                </a:cubicBezTo>
                <a:cubicBezTo>
                  <a:pt x="469" y="78"/>
                  <a:pt x="456" y="74"/>
                  <a:pt x="444" y="70"/>
                </a:cubicBezTo>
                <a:cubicBezTo>
                  <a:pt x="436" y="7"/>
                  <a:pt x="436" y="7"/>
                  <a:pt x="436" y="7"/>
                </a:cubicBezTo>
                <a:cubicBezTo>
                  <a:pt x="391" y="0"/>
                  <a:pt x="391" y="0"/>
                  <a:pt x="391" y="0"/>
                </a:cubicBezTo>
                <a:cubicBezTo>
                  <a:pt x="366" y="59"/>
                  <a:pt x="366" y="59"/>
                  <a:pt x="366" y="59"/>
                </a:cubicBezTo>
                <a:cubicBezTo>
                  <a:pt x="352" y="59"/>
                  <a:pt x="338" y="60"/>
                  <a:pt x="323" y="62"/>
                </a:cubicBezTo>
                <a:cubicBezTo>
                  <a:pt x="292" y="7"/>
                  <a:pt x="292" y="7"/>
                  <a:pt x="292" y="7"/>
                </a:cubicBezTo>
                <a:cubicBezTo>
                  <a:pt x="247" y="18"/>
                  <a:pt x="247" y="18"/>
                  <a:pt x="247" y="18"/>
                </a:cubicBezTo>
                <a:cubicBezTo>
                  <a:pt x="247" y="82"/>
                  <a:pt x="247" y="82"/>
                  <a:pt x="247" y="82"/>
                </a:cubicBezTo>
                <a:cubicBezTo>
                  <a:pt x="236" y="87"/>
                  <a:pt x="224" y="93"/>
                  <a:pt x="212" y="99"/>
                </a:cubicBezTo>
                <a:cubicBezTo>
                  <a:pt x="162" y="60"/>
                  <a:pt x="162" y="60"/>
                  <a:pt x="162" y="60"/>
                </a:cubicBezTo>
                <a:cubicBezTo>
                  <a:pt x="125" y="88"/>
                  <a:pt x="125" y="88"/>
                  <a:pt x="125" y="88"/>
                </a:cubicBezTo>
                <a:cubicBezTo>
                  <a:pt x="150" y="147"/>
                  <a:pt x="150" y="147"/>
                  <a:pt x="150" y="147"/>
                </a:cubicBezTo>
                <a:cubicBezTo>
                  <a:pt x="140" y="157"/>
                  <a:pt x="130" y="167"/>
                  <a:pt x="121" y="179"/>
                </a:cubicBezTo>
                <a:cubicBezTo>
                  <a:pt x="59" y="162"/>
                  <a:pt x="59" y="162"/>
                  <a:pt x="59" y="162"/>
                </a:cubicBezTo>
                <a:cubicBezTo>
                  <a:pt x="36" y="202"/>
                  <a:pt x="36" y="202"/>
                  <a:pt x="36" y="202"/>
                </a:cubicBezTo>
                <a:cubicBezTo>
                  <a:pt x="82" y="247"/>
                  <a:pt x="82" y="247"/>
                  <a:pt x="82" y="247"/>
                </a:cubicBezTo>
                <a:cubicBezTo>
                  <a:pt x="77" y="259"/>
                  <a:pt x="73" y="271"/>
                  <a:pt x="69" y="284"/>
                </a:cubicBezTo>
                <a:cubicBezTo>
                  <a:pt x="6" y="291"/>
                  <a:pt x="6" y="291"/>
                  <a:pt x="6" y="291"/>
                </a:cubicBezTo>
                <a:cubicBezTo>
                  <a:pt x="0" y="337"/>
                  <a:pt x="0" y="337"/>
                  <a:pt x="0" y="337"/>
                </a:cubicBezTo>
                <a:cubicBezTo>
                  <a:pt x="59" y="361"/>
                  <a:pt x="59" y="361"/>
                  <a:pt x="59" y="361"/>
                </a:cubicBezTo>
                <a:cubicBezTo>
                  <a:pt x="59" y="376"/>
                  <a:pt x="59" y="390"/>
                  <a:pt x="61" y="404"/>
                </a:cubicBezTo>
                <a:cubicBezTo>
                  <a:pt x="6" y="436"/>
                  <a:pt x="6" y="436"/>
                  <a:pt x="6" y="436"/>
                </a:cubicBezTo>
                <a:cubicBezTo>
                  <a:pt x="18" y="481"/>
                  <a:pt x="18" y="481"/>
                  <a:pt x="18" y="481"/>
                </a:cubicBezTo>
                <a:cubicBezTo>
                  <a:pt x="82" y="480"/>
                  <a:pt x="82" y="480"/>
                  <a:pt x="82" y="480"/>
                </a:cubicBezTo>
                <a:cubicBezTo>
                  <a:pt x="87" y="492"/>
                  <a:pt x="92" y="504"/>
                  <a:pt x="99" y="515"/>
                </a:cubicBezTo>
                <a:cubicBezTo>
                  <a:pt x="59" y="565"/>
                  <a:pt x="59" y="565"/>
                  <a:pt x="59" y="565"/>
                </a:cubicBezTo>
                <a:cubicBezTo>
                  <a:pt x="87" y="602"/>
                  <a:pt x="87" y="602"/>
                  <a:pt x="87" y="602"/>
                </a:cubicBezTo>
                <a:cubicBezTo>
                  <a:pt x="146" y="578"/>
                  <a:pt x="146" y="578"/>
                  <a:pt x="146" y="578"/>
                </a:cubicBezTo>
                <a:cubicBezTo>
                  <a:pt x="156" y="588"/>
                  <a:pt x="167" y="597"/>
                  <a:pt x="178" y="606"/>
                </a:cubicBezTo>
                <a:cubicBezTo>
                  <a:pt x="161" y="668"/>
                  <a:pt x="161" y="668"/>
                  <a:pt x="161" y="668"/>
                </a:cubicBezTo>
                <a:cubicBezTo>
                  <a:pt x="201" y="691"/>
                  <a:pt x="201" y="691"/>
                  <a:pt x="201" y="691"/>
                </a:cubicBezTo>
                <a:cubicBezTo>
                  <a:pt x="246" y="645"/>
                  <a:pt x="246" y="645"/>
                  <a:pt x="246" y="645"/>
                </a:cubicBezTo>
                <a:cubicBezTo>
                  <a:pt x="258" y="650"/>
                  <a:pt x="271" y="655"/>
                  <a:pt x="283" y="658"/>
                </a:cubicBezTo>
                <a:cubicBezTo>
                  <a:pt x="290" y="721"/>
                  <a:pt x="290" y="721"/>
                  <a:pt x="290" y="721"/>
                </a:cubicBezTo>
                <a:cubicBezTo>
                  <a:pt x="336" y="728"/>
                  <a:pt x="336" y="728"/>
                  <a:pt x="336" y="728"/>
                </a:cubicBezTo>
                <a:cubicBezTo>
                  <a:pt x="361" y="669"/>
                  <a:pt x="361" y="669"/>
                  <a:pt x="361" y="669"/>
                </a:cubicBezTo>
                <a:cubicBezTo>
                  <a:pt x="375" y="669"/>
                  <a:pt x="389" y="668"/>
                  <a:pt x="404" y="666"/>
                </a:cubicBezTo>
                <a:close/>
                <a:moveTo>
                  <a:pt x="246" y="567"/>
                </a:moveTo>
                <a:cubicBezTo>
                  <a:pt x="134" y="502"/>
                  <a:pt x="96" y="359"/>
                  <a:pt x="161" y="247"/>
                </a:cubicBezTo>
                <a:cubicBezTo>
                  <a:pt x="225" y="135"/>
                  <a:pt x="369" y="96"/>
                  <a:pt x="481" y="161"/>
                </a:cubicBezTo>
                <a:cubicBezTo>
                  <a:pt x="593" y="226"/>
                  <a:pt x="631" y="369"/>
                  <a:pt x="566" y="481"/>
                </a:cubicBezTo>
                <a:cubicBezTo>
                  <a:pt x="502" y="594"/>
                  <a:pt x="358" y="632"/>
                  <a:pt x="246" y="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5" name="Freeform 26">
            <a:extLst>
              <a:ext uri="{FF2B5EF4-FFF2-40B4-BE49-F238E27FC236}">
                <a16:creationId xmlns:a16="http://schemas.microsoft.com/office/drawing/2014/main" id="{76DDF9C6-F991-4FB2-BA03-3A99EC17ADD9}"/>
              </a:ext>
            </a:extLst>
          </p:cNvPr>
          <p:cNvSpPr>
            <a:spLocks noEditPoints="1"/>
          </p:cNvSpPr>
          <p:nvPr/>
        </p:nvSpPr>
        <p:spPr bwMode="auto">
          <a:xfrm>
            <a:off x="907190" y="3946383"/>
            <a:ext cx="1203107" cy="1204617"/>
          </a:xfrm>
          <a:custGeom>
            <a:avLst/>
            <a:gdLst>
              <a:gd name="T0" fmla="*/ 269 w 565"/>
              <a:gd name="T1" fmla="*/ 0 h 566"/>
              <a:gd name="T2" fmla="*/ 226 w 565"/>
              <a:gd name="T3" fmla="*/ 53 h 566"/>
              <a:gd name="T4" fmla="*/ 160 w 565"/>
              <a:gd name="T5" fmla="*/ 27 h 566"/>
              <a:gd name="T6" fmla="*/ 141 w 565"/>
              <a:gd name="T7" fmla="*/ 93 h 566"/>
              <a:gd name="T8" fmla="*/ 73 w 565"/>
              <a:gd name="T9" fmla="*/ 92 h 566"/>
              <a:gd name="T10" fmla="*/ 80 w 565"/>
              <a:gd name="T11" fmla="*/ 160 h 566"/>
              <a:gd name="T12" fmla="*/ 14 w 565"/>
              <a:gd name="T13" fmla="*/ 188 h 566"/>
              <a:gd name="T14" fmla="*/ 48 w 565"/>
              <a:gd name="T15" fmla="*/ 248 h 566"/>
              <a:gd name="T16" fmla="*/ 0 w 565"/>
              <a:gd name="T17" fmla="*/ 296 h 566"/>
              <a:gd name="T18" fmla="*/ 53 w 565"/>
              <a:gd name="T19" fmla="*/ 339 h 566"/>
              <a:gd name="T20" fmla="*/ 27 w 565"/>
              <a:gd name="T21" fmla="*/ 405 h 566"/>
              <a:gd name="T22" fmla="*/ 93 w 565"/>
              <a:gd name="T23" fmla="*/ 424 h 566"/>
              <a:gd name="T24" fmla="*/ 92 w 565"/>
              <a:gd name="T25" fmla="*/ 492 h 566"/>
              <a:gd name="T26" fmla="*/ 160 w 565"/>
              <a:gd name="T27" fmla="*/ 485 h 566"/>
              <a:gd name="T28" fmla="*/ 188 w 565"/>
              <a:gd name="T29" fmla="*/ 550 h 566"/>
              <a:gd name="T30" fmla="*/ 248 w 565"/>
              <a:gd name="T31" fmla="*/ 517 h 566"/>
              <a:gd name="T32" fmla="*/ 296 w 565"/>
              <a:gd name="T33" fmla="*/ 566 h 566"/>
              <a:gd name="T34" fmla="*/ 339 w 565"/>
              <a:gd name="T35" fmla="*/ 513 h 566"/>
              <a:gd name="T36" fmla="*/ 405 w 565"/>
              <a:gd name="T37" fmla="*/ 538 h 566"/>
              <a:gd name="T38" fmla="*/ 424 w 565"/>
              <a:gd name="T39" fmla="*/ 473 h 566"/>
              <a:gd name="T40" fmla="*/ 492 w 565"/>
              <a:gd name="T41" fmla="*/ 473 h 566"/>
              <a:gd name="T42" fmla="*/ 485 w 565"/>
              <a:gd name="T43" fmla="*/ 405 h 566"/>
              <a:gd name="T44" fmla="*/ 550 w 565"/>
              <a:gd name="T45" fmla="*/ 377 h 566"/>
              <a:gd name="T46" fmla="*/ 517 w 565"/>
              <a:gd name="T47" fmla="*/ 317 h 566"/>
              <a:gd name="T48" fmla="*/ 565 w 565"/>
              <a:gd name="T49" fmla="*/ 269 h 566"/>
              <a:gd name="T50" fmla="*/ 512 w 565"/>
              <a:gd name="T51" fmla="*/ 226 h 566"/>
              <a:gd name="T52" fmla="*/ 538 w 565"/>
              <a:gd name="T53" fmla="*/ 160 h 566"/>
              <a:gd name="T54" fmla="*/ 472 w 565"/>
              <a:gd name="T55" fmla="*/ 141 h 566"/>
              <a:gd name="T56" fmla="*/ 473 w 565"/>
              <a:gd name="T57" fmla="*/ 73 h 566"/>
              <a:gd name="T58" fmla="*/ 405 w 565"/>
              <a:gd name="T59" fmla="*/ 80 h 566"/>
              <a:gd name="T60" fmla="*/ 377 w 565"/>
              <a:gd name="T61" fmla="*/ 15 h 566"/>
              <a:gd name="T62" fmla="*/ 317 w 565"/>
              <a:gd name="T63" fmla="*/ 48 h 566"/>
              <a:gd name="T64" fmla="*/ 328 w 565"/>
              <a:gd name="T65" fmla="*/ 121 h 566"/>
              <a:gd name="T66" fmla="*/ 237 w 565"/>
              <a:gd name="T67" fmla="*/ 445 h 566"/>
              <a:gd name="T68" fmla="*/ 328 w 565"/>
              <a:gd name="T69" fmla="*/ 121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65" h="566">
                <a:moveTo>
                  <a:pt x="287" y="46"/>
                </a:moveTo>
                <a:cubicBezTo>
                  <a:pt x="269" y="0"/>
                  <a:pt x="269" y="0"/>
                  <a:pt x="269" y="0"/>
                </a:cubicBezTo>
                <a:cubicBezTo>
                  <a:pt x="233" y="4"/>
                  <a:pt x="233" y="4"/>
                  <a:pt x="233" y="4"/>
                </a:cubicBezTo>
                <a:cubicBezTo>
                  <a:pt x="226" y="53"/>
                  <a:pt x="226" y="53"/>
                  <a:pt x="226" y="53"/>
                </a:cubicBezTo>
                <a:cubicBezTo>
                  <a:pt x="215" y="55"/>
                  <a:pt x="205" y="59"/>
                  <a:pt x="194" y="63"/>
                </a:cubicBezTo>
                <a:cubicBezTo>
                  <a:pt x="160" y="27"/>
                  <a:pt x="160" y="27"/>
                  <a:pt x="160" y="27"/>
                </a:cubicBezTo>
                <a:cubicBezTo>
                  <a:pt x="129" y="45"/>
                  <a:pt x="129" y="45"/>
                  <a:pt x="129" y="45"/>
                </a:cubicBezTo>
                <a:cubicBezTo>
                  <a:pt x="141" y="93"/>
                  <a:pt x="141" y="93"/>
                  <a:pt x="141" y="93"/>
                </a:cubicBezTo>
                <a:cubicBezTo>
                  <a:pt x="133" y="99"/>
                  <a:pt x="125" y="105"/>
                  <a:pt x="118" y="112"/>
                </a:cubicBezTo>
                <a:cubicBezTo>
                  <a:pt x="73" y="92"/>
                  <a:pt x="73" y="92"/>
                  <a:pt x="73" y="92"/>
                </a:cubicBezTo>
                <a:cubicBezTo>
                  <a:pt x="50" y="120"/>
                  <a:pt x="50" y="120"/>
                  <a:pt x="50" y="120"/>
                </a:cubicBezTo>
                <a:cubicBezTo>
                  <a:pt x="80" y="160"/>
                  <a:pt x="80" y="160"/>
                  <a:pt x="80" y="160"/>
                </a:cubicBezTo>
                <a:cubicBezTo>
                  <a:pt x="74" y="169"/>
                  <a:pt x="69" y="179"/>
                  <a:pt x="65" y="190"/>
                </a:cubicBezTo>
                <a:cubicBezTo>
                  <a:pt x="14" y="188"/>
                  <a:pt x="14" y="188"/>
                  <a:pt x="14" y="188"/>
                </a:cubicBezTo>
                <a:cubicBezTo>
                  <a:pt x="5" y="223"/>
                  <a:pt x="5" y="223"/>
                  <a:pt x="5" y="223"/>
                </a:cubicBezTo>
                <a:cubicBezTo>
                  <a:pt x="48" y="248"/>
                  <a:pt x="48" y="248"/>
                  <a:pt x="48" y="248"/>
                </a:cubicBezTo>
                <a:cubicBezTo>
                  <a:pt x="47" y="258"/>
                  <a:pt x="46" y="268"/>
                  <a:pt x="46" y="278"/>
                </a:cubicBezTo>
                <a:cubicBezTo>
                  <a:pt x="0" y="296"/>
                  <a:pt x="0" y="296"/>
                  <a:pt x="0" y="296"/>
                </a:cubicBezTo>
                <a:cubicBezTo>
                  <a:pt x="4" y="332"/>
                  <a:pt x="4" y="332"/>
                  <a:pt x="4" y="332"/>
                </a:cubicBezTo>
                <a:cubicBezTo>
                  <a:pt x="53" y="339"/>
                  <a:pt x="53" y="339"/>
                  <a:pt x="53" y="339"/>
                </a:cubicBezTo>
                <a:cubicBezTo>
                  <a:pt x="55" y="350"/>
                  <a:pt x="59" y="360"/>
                  <a:pt x="63" y="371"/>
                </a:cubicBezTo>
                <a:cubicBezTo>
                  <a:pt x="27" y="405"/>
                  <a:pt x="27" y="405"/>
                  <a:pt x="27" y="405"/>
                </a:cubicBezTo>
                <a:cubicBezTo>
                  <a:pt x="45" y="436"/>
                  <a:pt x="45" y="436"/>
                  <a:pt x="45" y="436"/>
                </a:cubicBezTo>
                <a:cubicBezTo>
                  <a:pt x="93" y="424"/>
                  <a:pt x="93" y="424"/>
                  <a:pt x="93" y="424"/>
                </a:cubicBezTo>
                <a:cubicBezTo>
                  <a:pt x="99" y="432"/>
                  <a:pt x="105" y="440"/>
                  <a:pt x="112" y="447"/>
                </a:cubicBezTo>
                <a:cubicBezTo>
                  <a:pt x="92" y="492"/>
                  <a:pt x="92" y="492"/>
                  <a:pt x="92" y="492"/>
                </a:cubicBezTo>
                <a:cubicBezTo>
                  <a:pt x="120" y="515"/>
                  <a:pt x="120" y="515"/>
                  <a:pt x="120" y="515"/>
                </a:cubicBezTo>
                <a:cubicBezTo>
                  <a:pt x="160" y="485"/>
                  <a:pt x="160" y="485"/>
                  <a:pt x="160" y="485"/>
                </a:cubicBezTo>
                <a:cubicBezTo>
                  <a:pt x="169" y="491"/>
                  <a:pt x="179" y="496"/>
                  <a:pt x="189" y="500"/>
                </a:cubicBezTo>
                <a:cubicBezTo>
                  <a:pt x="188" y="550"/>
                  <a:pt x="188" y="550"/>
                  <a:pt x="188" y="550"/>
                </a:cubicBezTo>
                <a:cubicBezTo>
                  <a:pt x="223" y="560"/>
                  <a:pt x="223" y="560"/>
                  <a:pt x="223" y="560"/>
                </a:cubicBezTo>
                <a:cubicBezTo>
                  <a:pt x="248" y="517"/>
                  <a:pt x="248" y="517"/>
                  <a:pt x="248" y="517"/>
                </a:cubicBezTo>
                <a:cubicBezTo>
                  <a:pt x="258" y="518"/>
                  <a:pt x="268" y="519"/>
                  <a:pt x="278" y="519"/>
                </a:cubicBezTo>
                <a:cubicBezTo>
                  <a:pt x="296" y="566"/>
                  <a:pt x="296" y="566"/>
                  <a:pt x="296" y="566"/>
                </a:cubicBezTo>
                <a:cubicBezTo>
                  <a:pt x="332" y="562"/>
                  <a:pt x="332" y="562"/>
                  <a:pt x="332" y="562"/>
                </a:cubicBezTo>
                <a:cubicBezTo>
                  <a:pt x="339" y="513"/>
                  <a:pt x="339" y="513"/>
                  <a:pt x="339" y="513"/>
                </a:cubicBezTo>
                <a:cubicBezTo>
                  <a:pt x="350" y="510"/>
                  <a:pt x="360" y="507"/>
                  <a:pt x="371" y="502"/>
                </a:cubicBezTo>
                <a:cubicBezTo>
                  <a:pt x="405" y="538"/>
                  <a:pt x="405" y="538"/>
                  <a:pt x="405" y="538"/>
                </a:cubicBezTo>
                <a:cubicBezTo>
                  <a:pt x="436" y="521"/>
                  <a:pt x="436" y="521"/>
                  <a:pt x="436" y="521"/>
                </a:cubicBezTo>
                <a:cubicBezTo>
                  <a:pt x="424" y="473"/>
                  <a:pt x="424" y="473"/>
                  <a:pt x="424" y="473"/>
                </a:cubicBezTo>
                <a:cubicBezTo>
                  <a:pt x="432" y="467"/>
                  <a:pt x="440" y="460"/>
                  <a:pt x="447" y="453"/>
                </a:cubicBezTo>
                <a:cubicBezTo>
                  <a:pt x="492" y="473"/>
                  <a:pt x="492" y="473"/>
                  <a:pt x="492" y="473"/>
                </a:cubicBezTo>
                <a:cubicBezTo>
                  <a:pt x="515" y="445"/>
                  <a:pt x="515" y="445"/>
                  <a:pt x="515" y="445"/>
                </a:cubicBezTo>
                <a:cubicBezTo>
                  <a:pt x="485" y="405"/>
                  <a:pt x="485" y="405"/>
                  <a:pt x="485" y="405"/>
                </a:cubicBezTo>
                <a:cubicBezTo>
                  <a:pt x="491" y="396"/>
                  <a:pt x="496" y="386"/>
                  <a:pt x="500" y="376"/>
                </a:cubicBezTo>
                <a:cubicBezTo>
                  <a:pt x="550" y="377"/>
                  <a:pt x="550" y="377"/>
                  <a:pt x="550" y="377"/>
                </a:cubicBezTo>
                <a:cubicBezTo>
                  <a:pt x="560" y="342"/>
                  <a:pt x="560" y="342"/>
                  <a:pt x="560" y="342"/>
                </a:cubicBezTo>
                <a:cubicBezTo>
                  <a:pt x="517" y="317"/>
                  <a:pt x="517" y="317"/>
                  <a:pt x="517" y="317"/>
                </a:cubicBezTo>
                <a:cubicBezTo>
                  <a:pt x="518" y="307"/>
                  <a:pt x="519" y="297"/>
                  <a:pt x="519" y="287"/>
                </a:cubicBezTo>
                <a:cubicBezTo>
                  <a:pt x="565" y="269"/>
                  <a:pt x="565" y="269"/>
                  <a:pt x="565" y="269"/>
                </a:cubicBezTo>
                <a:cubicBezTo>
                  <a:pt x="561" y="233"/>
                  <a:pt x="561" y="233"/>
                  <a:pt x="561" y="233"/>
                </a:cubicBezTo>
                <a:cubicBezTo>
                  <a:pt x="512" y="226"/>
                  <a:pt x="512" y="226"/>
                  <a:pt x="512" y="226"/>
                </a:cubicBezTo>
                <a:cubicBezTo>
                  <a:pt x="510" y="216"/>
                  <a:pt x="506" y="205"/>
                  <a:pt x="502" y="195"/>
                </a:cubicBezTo>
                <a:cubicBezTo>
                  <a:pt x="538" y="160"/>
                  <a:pt x="538" y="160"/>
                  <a:pt x="538" y="160"/>
                </a:cubicBezTo>
                <a:cubicBezTo>
                  <a:pt x="520" y="129"/>
                  <a:pt x="520" y="129"/>
                  <a:pt x="520" y="129"/>
                </a:cubicBezTo>
                <a:cubicBezTo>
                  <a:pt x="472" y="141"/>
                  <a:pt x="472" y="141"/>
                  <a:pt x="472" y="141"/>
                </a:cubicBezTo>
                <a:cubicBezTo>
                  <a:pt x="466" y="133"/>
                  <a:pt x="460" y="126"/>
                  <a:pt x="453" y="118"/>
                </a:cubicBezTo>
                <a:cubicBezTo>
                  <a:pt x="473" y="73"/>
                  <a:pt x="473" y="73"/>
                  <a:pt x="473" y="73"/>
                </a:cubicBezTo>
                <a:cubicBezTo>
                  <a:pt x="445" y="51"/>
                  <a:pt x="445" y="51"/>
                  <a:pt x="445" y="51"/>
                </a:cubicBezTo>
                <a:cubicBezTo>
                  <a:pt x="405" y="80"/>
                  <a:pt x="405" y="80"/>
                  <a:pt x="405" y="80"/>
                </a:cubicBezTo>
                <a:cubicBezTo>
                  <a:pt x="396" y="75"/>
                  <a:pt x="386" y="69"/>
                  <a:pt x="376" y="65"/>
                </a:cubicBezTo>
                <a:cubicBezTo>
                  <a:pt x="377" y="15"/>
                  <a:pt x="377" y="15"/>
                  <a:pt x="377" y="15"/>
                </a:cubicBezTo>
                <a:cubicBezTo>
                  <a:pt x="342" y="5"/>
                  <a:pt x="342" y="5"/>
                  <a:pt x="342" y="5"/>
                </a:cubicBezTo>
                <a:cubicBezTo>
                  <a:pt x="317" y="48"/>
                  <a:pt x="317" y="48"/>
                  <a:pt x="317" y="48"/>
                </a:cubicBezTo>
                <a:cubicBezTo>
                  <a:pt x="307" y="47"/>
                  <a:pt x="297" y="46"/>
                  <a:pt x="287" y="46"/>
                </a:cubicBezTo>
                <a:close/>
                <a:moveTo>
                  <a:pt x="328" y="121"/>
                </a:moveTo>
                <a:cubicBezTo>
                  <a:pt x="418" y="146"/>
                  <a:pt x="470" y="239"/>
                  <a:pt x="444" y="328"/>
                </a:cubicBezTo>
                <a:cubicBezTo>
                  <a:pt x="419" y="418"/>
                  <a:pt x="326" y="470"/>
                  <a:pt x="237" y="445"/>
                </a:cubicBezTo>
                <a:cubicBezTo>
                  <a:pt x="147" y="419"/>
                  <a:pt x="95" y="326"/>
                  <a:pt x="121" y="237"/>
                </a:cubicBezTo>
                <a:cubicBezTo>
                  <a:pt x="146" y="148"/>
                  <a:pt x="239" y="96"/>
                  <a:pt x="328" y="121"/>
                </a:cubicBezTo>
                <a:close/>
              </a:path>
            </a:pathLst>
          </a:custGeom>
          <a:solidFill>
            <a:srgbClr val="DADFE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8E9F74A-489B-411B-B288-3FA1291CA688}"/>
              </a:ext>
            </a:extLst>
          </p:cNvPr>
          <p:cNvGrpSpPr/>
          <p:nvPr/>
        </p:nvGrpSpPr>
        <p:grpSpPr>
          <a:xfrm>
            <a:off x="1817124" y="2962797"/>
            <a:ext cx="346328" cy="344414"/>
            <a:chOff x="7018338" y="4656138"/>
            <a:chExt cx="287337" cy="285750"/>
          </a:xfrm>
          <a:solidFill>
            <a:schemeClr val="accent1"/>
          </a:solidFill>
          <a:effectLst/>
        </p:grpSpPr>
        <p:sp>
          <p:nvSpPr>
            <p:cNvPr id="77" name="Freeform 4604">
              <a:extLst>
                <a:ext uri="{FF2B5EF4-FFF2-40B4-BE49-F238E27FC236}">
                  <a16:creationId xmlns:a16="http://schemas.microsoft.com/office/drawing/2014/main" id="{EFB37C51-AF4E-4F5F-BB51-0B96EBD04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" name="Freeform 4605">
              <a:extLst>
                <a:ext uri="{FF2B5EF4-FFF2-40B4-BE49-F238E27FC236}">
                  <a16:creationId xmlns:a16="http://schemas.microsoft.com/office/drawing/2014/main" id="{7B4C77B3-3441-40A4-BB72-2A02209D6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" name="Freeform 4606">
              <a:extLst>
                <a:ext uri="{FF2B5EF4-FFF2-40B4-BE49-F238E27FC236}">
                  <a16:creationId xmlns:a16="http://schemas.microsoft.com/office/drawing/2014/main" id="{98CAAF97-015F-4507-A8E3-2F95D46D1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Rectangle 4607">
              <a:extLst>
                <a:ext uri="{FF2B5EF4-FFF2-40B4-BE49-F238E27FC236}">
                  <a16:creationId xmlns:a16="http://schemas.microsoft.com/office/drawing/2014/main" id="{E628A228-65DF-4721-90C3-E7F354A3E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DDFE4D5-2735-4EBB-800C-37964549C284}"/>
              </a:ext>
            </a:extLst>
          </p:cNvPr>
          <p:cNvGrpSpPr/>
          <p:nvPr/>
        </p:nvGrpSpPr>
        <p:grpSpPr>
          <a:xfrm>
            <a:off x="4982512" y="2654094"/>
            <a:ext cx="333000" cy="344414"/>
            <a:chOff x="11612563" y="4081463"/>
            <a:chExt cx="277813" cy="287337"/>
          </a:xfrm>
          <a:solidFill>
            <a:schemeClr val="accent1"/>
          </a:solidFill>
          <a:effectLst/>
        </p:grpSpPr>
        <p:sp>
          <p:nvSpPr>
            <p:cNvPr id="82" name="Freeform 4632">
              <a:extLst>
                <a:ext uri="{FF2B5EF4-FFF2-40B4-BE49-F238E27FC236}">
                  <a16:creationId xmlns:a16="http://schemas.microsoft.com/office/drawing/2014/main" id="{BA70E613-576C-4DA1-A366-176A127978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6850" y="4081463"/>
              <a:ext cx="249238" cy="173038"/>
            </a:xfrm>
            <a:custGeom>
              <a:avLst/>
              <a:gdLst>
                <a:gd name="T0" fmla="*/ 452 w 784"/>
                <a:gd name="T1" fmla="*/ 120 h 542"/>
                <a:gd name="T2" fmla="*/ 302 w 784"/>
                <a:gd name="T3" fmla="*/ 150 h 542"/>
                <a:gd name="T4" fmla="*/ 16 w 784"/>
                <a:gd name="T5" fmla="*/ 542 h 542"/>
                <a:gd name="T6" fmla="*/ 772 w 784"/>
                <a:gd name="T7" fmla="*/ 542 h 542"/>
                <a:gd name="T8" fmla="*/ 777 w 784"/>
                <a:gd name="T9" fmla="*/ 539 h 542"/>
                <a:gd name="T10" fmla="*/ 781 w 784"/>
                <a:gd name="T11" fmla="*/ 535 h 542"/>
                <a:gd name="T12" fmla="*/ 783 w 784"/>
                <a:gd name="T13" fmla="*/ 529 h 542"/>
                <a:gd name="T14" fmla="*/ 784 w 784"/>
                <a:gd name="T15" fmla="*/ 135 h 542"/>
                <a:gd name="T16" fmla="*/ 783 w 784"/>
                <a:gd name="T17" fmla="*/ 129 h 542"/>
                <a:gd name="T18" fmla="*/ 780 w 784"/>
                <a:gd name="T19" fmla="*/ 125 h 542"/>
                <a:gd name="T20" fmla="*/ 775 w 784"/>
                <a:gd name="T21" fmla="*/ 121 h 542"/>
                <a:gd name="T22" fmla="*/ 768 w 784"/>
                <a:gd name="T23" fmla="*/ 120 h 542"/>
                <a:gd name="T24" fmla="*/ 483 w 784"/>
                <a:gd name="T25" fmla="*/ 105 h 542"/>
                <a:gd name="T26" fmla="*/ 481 w 784"/>
                <a:gd name="T27" fmla="*/ 99 h 542"/>
                <a:gd name="T28" fmla="*/ 478 w 784"/>
                <a:gd name="T29" fmla="*/ 94 h 542"/>
                <a:gd name="T30" fmla="*/ 474 w 784"/>
                <a:gd name="T31" fmla="*/ 91 h 542"/>
                <a:gd name="T32" fmla="*/ 468 w 784"/>
                <a:gd name="T33" fmla="*/ 90 h 542"/>
                <a:gd name="T34" fmla="*/ 392 w 784"/>
                <a:gd name="T35" fmla="*/ 14 h 542"/>
                <a:gd name="T36" fmla="*/ 391 w 784"/>
                <a:gd name="T37" fmla="*/ 9 h 542"/>
                <a:gd name="T38" fmla="*/ 388 w 784"/>
                <a:gd name="T39" fmla="*/ 4 h 542"/>
                <a:gd name="T40" fmla="*/ 383 w 784"/>
                <a:gd name="T41" fmla="*/ 1 h 542"/>
                <a:gd name="T42" fmla="*/ 378 w 784"/>
                <a:gd name="T43" fmla="*/ 0 h 542"/>
                <a:gd name="T44" fmla="*/ 371 w 784"/>
                <a:gd name="T45" fmla="*/ 1 h 542"/>
                <a:gd name="T46" fmla="*/ 366 w 784"/>
                <a:gd name="T47" fmla="*/ 4 h 542"/>
                <a:gd name="T48" fmla="*/ 363 w 784"/>
                <a:gd name="T49" fmla="*/ 9 h 542"/>
                <a:gd name="T50" fmla="*/ 362 w 784"/>
                <a:gd name="T51" fmla="*/ 14 h 542"/>
                <a:gd name="T52" fmla="*/ 287 w 784"/>
                <a:gd name="T53" fmla="*/ 90 h 542"/>
                <a:gd name="T54" fmla="*/ 282 w 784"/>
                <a:gd name="T55" fmla="*/ 91 h 542"/>
                <a:gd name="T56" fmla="*/ 276 w 784"/>
                <a:gd name="T57" fmla="*/ 94 h 542"/>
                <a:gd name="T58" fmla="*/ 273 w 784"/>
                <a:gd name="T59" fmla="*/ 99 h 542"/>
                <a:gd name="T60" fmla="*/ 271 w 784"/>
                <a:gd name="T61" fmla="*/ 105 h 542"/>
                <a:gd name="T62" fmla="*/ 16 w 784"/>
                <a:gd name="T63" fmla="*/ 120 h 542"/>
                <a:gd name="T64" fmla="*/ 11 w 784"/>
                <a:gd name="T65" fmla="*/ 121 h 542"/>
                <a:gd name="T66" fmla="*/ 5 w 784"/>
                <a:gd name="T67" fmla="*/ 125 h 542"/>
                <a:gd name="T68" fmla="*/ 1 w 784"/>
                <a:gd name="T69" fmla="*/ 129 h 542"/>
                <a:gd name="T70" fmla="*/ 0 w 784"/>
                <a:gd name="T71" fmla="*/ 135 h 542"/>
                <a:gd name="T72" fmla="*/ 1 w 784"/>
                <a:gd name="T73" fmla="*/ 529 h 542"/>
                <a:gd name="T74" fmla="*/ 4 w 784"/>
                <a:gd name="T75" fmla="*/ 535 h 542"/>
                <a:gd name="T76" fmla="*/ 7 w 784"/>
                <a:gd name="T77" fmla="*/ 539 h 542"/>
                <a:gd name="T78" fmla="*/ 13 w 784"/>
                <a:gd name="T79" fmla="*/ 542 h 542"/>
                <a:gd name="T80" fmla="*/ 16 w 784"/>
                <a:gd name="T81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4" h="542">
                  <a:moveTo>
                    <a:pt x="302" y="120"/>
                  </a:moveTo>
                  <a:lnTo>
                    <a:pt x="452" y="120"/>
                  </a:lnTo>
                  <a:lnTo>
                    <a:pt x="452" y="150"/>
                  </a:lnTo>
                  <a:lnTo>
                    <a:pt x="302" y="150"/>
                  </a:lnTo>
                  <a:lnTo>
                    <a:pt x="302" y="120"/>
                  </a:lnTo>
                  <a:close/>
                  <a:moveTo>
                    <a:pt x="16" y="542"/>
                  </a:moveTo>
                  <a:lnTo>
                    <a:pt x="768" y="542"/>
                  </a:lnTo>
                  <a:lnTo>
                    <a:pt x="772" y="542"/>
                  </a:lnTo>
                  <a:lnTo>
                    <a:pt x="775" y="540"/>
                  </a:lnTo>
                  <a:lnTo>
                    <a:pt x="777" y="539"/>
                  </a:lnTo>
                  <a:lnTo>
                    <a:pt x="780" y="537"/>
                  </a:lnTo>
                  <a:lnTo>
                    <a:pt x="781" y="535"/>
                  </a:lnTo>
                  <a:lnTo>
                    <a:pt x="783" y="533"/>
                  </a:lnTo>
                  <a:lnTo>
                    <a:pt x="783" y="529"/>
                  </a:lnTo>
                  <a:lnTo>
                    <a:pt x="784" y="527"/>
                  </a:lnTo>
                  <a:lnTo>
                    <a:pt x="784" y="135"/>
                  </a:lnTo>
                  <a:lnTo>
                    <a:pt x="783" y="132"/>
                  </a:lnTo>
                  <a:lnTo>
                    <a:pt x="783" y="129"/>
                  </a:lnTo>
                  <a:lnTo>
                    <a:pt x="781" y="127"/>
                  </a:lnTo>
                  <a:lnTo>
                    <a:pt x="780" y="125"/>
                  </a:lnTo>
                  <a:lnTo>
                    <a:pt x="777" y="123"/>
                  </a:lnTo>
                  <a:lnTo>
                    <a:pt x="775" y="121"/>
                  </a:lnTo>
                  <a:lnTo>
                    <a:pt x="772" y="120"/>
                  </a:lnTo>
                  <a:lnTo>
                    <a:pt x="768" y="120"/>
                  </a:lnTo>
                  <a:lnTo>
                    <a:pt x="483" y="120"/>
                  </a:lnTo>
                  <a:lnTo>
                    <a:pt x="483" y="105"/>
                  </a:lnTo>
                  <a:lnTo>
                    <a:pt x="483" y="102"/>
                  </a:lnTo>
                  <a:lnTo>
                    <a:pt x="481" y="99"/>
                  </a:lnTo>
                  <a:lnTo>
                    <a:pt x="480" y="97"/>
                  </a:lnTo>
                  <a:lnTo>
                    <a:pt x="478" y="94"/>
                  </a:lnTo>
                  <a:lnTo>
                    <a:pt x="476" y="92"/>
                  </a:lnTo>
                  <a:lnTo>
                    <a:pt x="474" y="91"/>
                  </a:lnTo>
                  <a:lnTo>
                    <a:pt x="470" y="90"/>
                  </a:lnTo>
                  <a:lnTo>
                    <a:pt x="468" y="90"/>
                  </a:lnTo>
                  <a:lnTo>
                    <a:pt x="392" y="90"/>
                  </a:lnTo>
                  <a:lnTo>
                    <a:pt x="392" y="14"/>
                  </a:lnTo>
                  <a:lnTo>
                    <a:pt x="392" y="12"/>
                  </a:lnTo>
                  <a:lnTo>
                    <a:pt x="391" y="9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5" y="2"/>
                  </a:lnTo>
                  <a:lnTo>
                    <a:pt x="383" y="1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4" y="0"/>
                  </a:lnTo>
                  <a:lnTo>
                    <a:pt x="371" y="1"/>
                  </a:lnTo>
                  <a:lnTo>
                    <a:pt x="369" y="2"/>
                  </a:lnTo>
                  <a:lnTo>
                    <a:pt x="366" y="4"/>
                  </a:lnTo>
                  <a:lnTo>
                    <a:pt x="365" y="6"/>
                  </a:lnTo>
                  <a:lnTo>
                    <a:pt x="363" y="9"/>
                  </a:lnTo>
                  <a:lnTo>
                    <a:pt x="363" y="12"/>
                  </a:lnTo>
                  <a:lnTo>
                    <a:pt x="362" y="14"/>
                  </a:lnTo>
                  <a:lnTo>
                    <a:pt x="362" y="90"/>
                  </a:lnTo>
                  <a:lnTo>
                    <a:pt x="287" y="90"/>
                  </a:lnTo>
                  <a:lnTo>
                    <a:pt x="284" y="90"/>
                  </a:lnTo>
                  <a:lnTo>
                    <a:pt x="282" y="91"/>
                  </a:lnTo>
                  <a:lnTo>
                    <a:pt x="278" y="92"/>
                  </a:lnTo>
                  <a:lnTo>
                    <a:pt x="276" y="94"/>
                  </a:lnTo>
                  <a:lnTo>
                    <a:pt x="275" y="97"/>
                  </a:lnTo>
                  <a:lnTo>
                    <a:pt x="273" y="99"/>
                  </a:lnTo>
                  <a:lnTo>
                    <a:pt x="273" y="102"/>
                  </a:lnTo>
                  <a:lnTo>
                    <a:pt x="271" y="105"/>
                  </a:lnTo>
                  <a:lnTo>
                    <a:pt x="271" y="120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1" y="121"/>
                  </a:lnTo>
                  <a:lnTo>
                    <a:pt x="7" y="123"/>
                  </a:lnTo>
                  <a:lnTo>
                    <a:pt x="5" y="125"/>
                  </a:lnTo>
                  <a:lnTo>
                    <a:pt x="4" y="127"/>
                  </a:lnTo>
                  <a:lnTo>
                    <a:pt x="1" y="129"/>
                  </a:lnTo>
                  <a:lnTo>
                    <a:pt x="1" y="132"/>
                  </a:lnTo>
                  <a:lnTo>
                    <a:pt x="0" y="135"/>
                  </a:lnTo>
                  <a:lnTo>
                    <a:pt x="0" y="527"/>
                  </a:lnTo>
                  <a:lnTo>
                    <a:pt x="1" y="529"/>
                  </a:lnTo>
                  <a:lnTo>
                    <a:pt x="1" y="533"/>
                  </a:lnTo>
                  <a:lnTo>
                    <a:pt x="4" y="535"/>
                  </a:lnTo>
                  <a:lnTo>
                    <a:pt x="5" y="537"/>
                  </a:lnTo>
                  <a:lnTo>
                    <a:pt x="7" y="539"/>
                  </a:lnTo>
                  <a:lnTo>
                    <a:pt x="11" y="540"/>
                  </a:lnTo>
                  <a:lnTo>
                    <a:pt x="13" y="542"/>
                  </a:lnTo>
                  <a:lnTo>
                    <a:pt x="16" y="542"/>
                  </a:lnTo>
                  <a:lnTo>
                    <a:pt x="16" y="5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" name="Freeform 4633">
              <a:extLst>
                <a:ext uri="{FF2B5EF4-FFF2-40B4-BE49-F238E27FC236}">
                  <a16:creationId xmlns:a16="http://schemas.microsoft.com/office/drawing/2014/main" id="{EA108E67-3940-4E4F-AC05-4C482B556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2563" y="4264025"/>
              <a:ext cx="277813" cy="104775"/>
            </a:xfrm>
            <a:custGeom>
              <a:avLst/>
              <a:gdLst>
                <a:gd name="T0" fmla="*/ 45 w 874"/>
                <a:gd name="T1" fmla="*/ 0 h 331"/>
                <a:gd name="T2" fmla="*/ 26 w 874"/>
                <a:gd name="T3" fmla="*/ 2 h 331"/>
                <a:gd name="T4" fmla="*/ 13 w 874"/>
                <a:gd name="T5" fmla="*/ 11 h 331"/>
                <a:gd name="T6" fmla="*/ 4 w 874"/>
                <a:gd name="T7" fmla="*/ 26 h 331"/>
                <a:gd name="T8" fmla="*/ 0 w 874"/>
                <a:gd name="T9" fmla="*/ 45 h 331"/>
                <a:gd name="T10" fmla="*/ 4 w 874"/>
                <a:gd name="T11" fmla="*/ 64 h 331"/>
                <a:gd name="T12" fmla="*/ 13 w 874"/>
                <a:gd name="T13" fmla="*/ 78 h 331"/>
                <a:gd name="T14" fmla="*/ 26 w 874"/>
                <a:gd name="T15" fmla="*/ 87 h 331"/>
                <a:gd name="T16" fmla="*/ 45 w 874"/>
                <a:gd name="T17" fmla="*/ 90 h 331"/>
                <a:gd name="T18" fmla="*/ 105 w 874"/>
                <a:gd name="T19" fmla="*/ 310 h 331"/>
                <a:gd name="T20" fmla="*/ 103 w 874"/>
                <a:gd name="T21" fmla="*/ 315 h 331"/>
                <a:gd name="T22" fmla="*/ 104 w 874"/>
                <a:gd name="T23" fmla="*/ 321 h 331"/>
                <a:gd name="T24" fmla="*/ 106 w 874"/>
                <a:gd name="T25" fmla="*/ 325 h 331"/>
                <a:gd name="T26" fmla="*/ 112 w 874"/>
                <a:gd name="T27" fmla="*/ 330 h 331"/>
                <a:gd name="T28" fmla="*/ 119 w 874"/>
                <a:gd name="T29" fmla="*/ 331 h 331"/>
                <a:gd name="T30" fmla="*/ 127 w 874"/>
                <a:gd name="T31" fmla="*/ 329 h 331"/>
                <a:gd name="T32" fmla="*/ 132 w 874"/>
                <a:gd name="T33" fmla="*/ 323 h 331"/>
                <a:gd name="T34" fmla="*/ 407 w 874"/>
                <a:gd name="T35" fmla="*/ 90 h 331"/>
                <a:gd name="T36" fmla="*/ 408 w 874"/>
                <a:gd name="T37" fmla="*/ 319 h 331"/>
                <a:gd name="T38" fmla="*/ 410 w 874"/>
                <a:gd name="T39" fmla="*/ 324 h 331"/>
                <a:gd name="T40" fmla="*/ 414 w 874"/>
                <a:gd name="T41" fmla="*/ 329 h 331"/>
                <a:gd name="T42" fmla="*/ 419 w 874"/>
                <a:gd name="T43" fmla="*/ 331 h 331"/>
                <a:gd name="T44" fmla="*/ 425 w 874"/>
                <a:gd name="T45" fmla="*/ 331 h 331"/>
                <a:gd name="T46" fmla="*/ 430 w 874"/>
                <a:gd name="T47" fmla="*/ 329 h 331"/>
                <a:gd name="T48" fmla="*/ 435 w 874"/>
                <a:gd name="T49" fmla="*/ 324 h 331"/>
                <a:gd name="T50" fmla="*/ 437 w 874"/>
                <a:gd name="T51" fmla="*/ 319 h 331"/>
                <a:gd name="T52" fmla="*/ 437 w 874"/>
                <a:gd name="T53" fmla="*/ 90 h 331"/>
                <a:gd name="T54" fmla="*/ 713 w 874"/>
                <a:gd name="T55" fmla="*/ 323 h 331"/>
                <a:gd name="T56" fmla="*/ 718 w 874"/>
                <a:gd name="T57" fmla="*/ 329 h 331"/>
                <a:gd name="T58" fmla="*/ 726 w 874"/>
                <a:gd name="T59" fmla="*/ 331 h 331"/>
                <a:gd name="T60" fmla="*/ 733 w 874"/>
                <a:gd name="T61" fmla="*/ 330 h 331"/>
                <a:gd name="T62" fmla="*/ 738 w 874"/>
                <a:gd name="T63" fmla="*/ 325 h 331"/>
                <a:gd name="T64" fmla="*/ 740 w 874"/>
                <a:gd name="T65" fmla="*/ 321 h 331"/>
                <a:gd name="T66" fmla="*/ 741 w 874"/>
                <a:gd name="T67" fmla="*/ 315 h 331"/>
                <a:gd name="T68" fmla="*/ 739 w 874"/>
                <a:gd name="T69" fmla="*/ 310 h 331"/>
                <a:gd name="T70" fmla="*/ 829 w 874"/>
                <a:gd name="T71" fmla="*/ 90 h 331"/>
                <a:gd name="T72" fmla="*/ 848 w 874"/>
                <a:gd name="T73" fmla="*/ 87 h 331"/>
                <a:gd name="T74" fmla="*/ 862 w 874"/>
                <a:gd name="T75" fmla="*/ 78 h 331"/>
                <a:gd name="T76" fmla="*/ 871 w 874"/>
                <a:gd name="T77" fmla="*/ 64 h 331"/>
                <a:gd name="T78" fmla="*/ 874 w 874"/>
                <a:gd name="T79" fmla="*/ 45 h 331"/>
                <a:gd name="T80" fmla="*/ 871 w 874"/>
                <a:gd name="T81" fmla="*/ 26 h 331"/>
                <a:gd name="T82" fmla="*/ 862 w 874"/>
                <a:gd name="T83" fmla="*/ 11 h 331"/>
                <a:gd name="T84" fmla="*/ 848 w 874"/>
                <a:gd name="T85" fmla="*/ 2 h 331"/>
                <a:gd name="T86" fmla="*/ 829 w 874"/>
                <a:gd name="T87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74" h="331">
                  <a:moveTo>
                    <a:pt x="829" y="0"/>
                  </a:moveTo>
                  <a:lnTo>
                    <a:pt x="45" y="0"/>
                  </a:lnTo>
                  <a:lnTo>
                    <a:pt x="35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3" y="11"/>
                  </a:lnTo>
                  <a:lnTo>
                    <a:pt x="7" y="18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5"/>
                  </a:lnTo>
                  <a:lnTo>
                    <a:pt x="1" y="55"/>
                  </a:lnTo>
                  <a:lnTo>
                    <a:pt x="4" y="64"/>
                  </a:lnTo>
                  <a:lnTo>
                    <a:pt x="7" y="72"/>
                  </a:lnTo>
                  <a:lnTo>
                    <a:pt x="13" y="78"/>
                  </a:lnTo>
                  <a:lnTo>
                    <a:pt x="18" y="84"/>
                  </a:lnTo>
                  <a:lnTo>
                    <a:pt x="26" y="87"/>
                  </a:lnTo>
                  <a:lnTo>
                    <a:pt x="35" y="89"/>
                  </a:lnTo>
                  <a:lnTo>
                    <a:pt x="45" y="90"/>
                  </a:lnTo>
                  <a:lnTo>
                    <a:pt x="217" y="90"/>
                  </a:lnTo>
                  <a:lnTo>
                    <a:pt x="105" y="310"/>
                  </a:lnTo>
                  <a:lnTo>
                    <a:pt x="104" y="312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4" y="321"/>
                  </a:lnTo>
                  <a:lnTo>
                    <a:pt x="105" y="323"/>
                  </a:lnTo>
                  <a:lnTo>
                    <a:pt x="106" y="325"/>
                  </a:lnTo>
                  <a:lnTo>
                    <a:pt x="109" y="328"/>
                  </a:lnTo>
                  <a:lnTo>
                    <a:pt x="112" y="330"/>
                  </a:lnTo>
                  <a:lnTo>
                    <a:pt x="115" y="331"/>
                  </a:lnTo>
                  <a:lnTo>
                    <a:pt x="119" y="331"/>
                  </a:lnTo>
                  <a:lnTo>
                    <a:pt x="122" y="331"/>
                  </a:lnTo>
                  <a:lnTo>
                    <a:pt x="127" y="329"/>
                  </a:lnTo>
                  <a:lnTo>
                    <a:pt x="129" y="326"/>
                  </a:lnTo>
                  <a:lnTo>
                    <a:pt x="132" y="323"/>
                  </a:lnTo>
                  <a:lnTo>
                    <a:pt x="251" y="90"/>
                  </a:lnTo>
                  <a:lnTo>
                    <a:pt x="407" y="90"/>
                  </a:lnTo>
                  <a:lnTo>
                    <a:pt x="407" y="316"/>
                  </a:lnTo>
                  <a:lnTo>
                    <a:pt x="408" y="319"/>
                  </a:lnTo>
                  <a:lnTo>
                    <a:pt x="408" y="322"/>
                  </a:lnTo>
                  <a:lnTo>
                    <a:pt x="410" y="324"/>
                  </a:lnTo>
                  <a:lnTo>
                    <a:pt x="411" y="326"/>
                  </a:lnTo>
                  <a:lnTo>
                    <a:pt x="414" y="329"/>
                  </a:lnTo>
                  <a:lnTo>
                    <a:pt x="416" y="330"/>
                  </a:lnTo>
                  <a:lnTo>
                    <a:pt x="419" y="331"/>
                  </a:lnTo>
                  <a:lnTo>
                    <a:pt x="423" y="331"/>
                  </a:lnTo>
                  <a:lnTo>
                    <a:pt x="425" y="331"/>
                  </a:lnTo>
                  <a:lnTo>
                    <a:pt x="428" y="330"/>
                  </a:lnTo>
                  <a:lnTo>
                    <a:pt x="430" y="329"/>
                  </a:lnTo>
                  <a:lnTo>
                    <a:pt x="433" y="326"/>
                  </a:lnTo>
                  <a:lnTo>
                    <a:pt x="435" y="324"/>
                  </a:lnTo>
                  <a:lnTo>
                    <a:pt x="436" y="322"/>
                  </a:lnTo>
                  <a:lnTo>
                    <a:pt x="437" y="319"/>
                  </a:lnTo>
                  <a:lnTo>
                    <a:pt x="437" y="316"/>
                  </a:lnTo>
                  <a:lnTo>
                    <a:pt x="437" y="90"/>
                  </a:lnTo>
                  <a:lnTo>
                    <a:pt x="594" y="90"/>
                  </a:lnTo>
                  <a:lnTo>
                    <a:pt x="713" y="323"/>
                  </a:lnTo>
                  <a:lnTo>
                    <a:pt x="715" y="326"/>
                  </a:lnTo>
                  <a:lnTo>
                    <a:pt x="718" y="329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3" y="330"/>
                  </a:lnTo>
                  <a:lnTo>
                    <a:pt x="735" y="328"/>
                  </a:lnTo>
                  <a:lnTo>
                    <a:pt x="738" y="325"/>
                  </a:lnTo>
                  <a:lnTo>
                    <a:pt x="739" y="323"/>
                  </a:lnTo>
                  <a:lnTo>
                    <a:pt x="740" y="321"/>
                  </a:lnTo>
                  <a:lnTo>
                    <a:pt x="741" y="317"/>
                  </a:lnTo>
                  <a:lnTo>
                    <a:pt x="741" y="315"/>
                  </a:lnTo>
                  <a:lnTo>
                    <a:pt x="740" y="312"/>
                  </a:lnTo>
                  <a:lnTo>
                    <a:pt x="739" y="310"/>
                  </a:lnTo>
                  <a:lnTo>
                    <a:pt x="627" y="90"/>
                  </a:lnTo>
                  <a:lnTo>
                    <a:pt x="829" y="90"/>
                  </a:lnTo>
                  <a:lnTo>
                    <a:pt x="839" y="89"/>
                  </a:lnTo>
                  <a:lnTo>
                    <a:pt x="848" y="87"/>
                  </a:lnTo>
                  <a:lnTo>
                    <a:pt x="856" y="84"/>
                  </a:lnTo>
                  <a:lnTo>
                    <a:pt x="862" y="78"/>
                  </a:lnTo>
                  <a:lnTo>
                    <a:pt x="868" y="72"/>
                  </a:lnTo>
                  <a:lnTo>
                    <a:pt x="871" y="64"/>
                  </a:lnTo>
                  <a:lnTo>
                    <a:pt x="873" y="55"/>
                  </a:lnTo>
                  <a:lnTo>
                    <a:pt x="874" y="45"/>
                  </a:lnTo>
                  <a:lnTo>
                    <a:pt x="873" y="35"/>
                  </a:lnTo>
                  <a:lnTo>
                    <a:pt x="871" y="26"/>
                  </a:lnTo>
                  <a:lnTo>
                    <a:pt x="868" y="18"/>
                  </a:lnTo>
                  <a:lnTo>
                    <a:pt x="862" y="11"/>
                  </a:lnTo>
                  <a:lnTo>
                    <a:pt x="856" y="7"/>
                  </a:lnTo>
                  <a:lnTo>
                    <a:pt x="848" y="2"/>
                  </a:lnTo>
                  <a:lnTo>
                    <a:pt x="839" y="0"/>
                  </a:lnTo>
                  <a:lnTo>
                    <a:pt x="829" y="0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0190257-6E9B-4A91-B96F-7A4F96482776}"/>
              </a:ext>
            </a:extLst>
          </p:cNvPr>
          <p:cNvGrpSpPr/>
          <p:nvPr/>
        </p:nvGrpSpPr>
        <p:grpSpPr>
          <a:xfrm>
            <a:off x="2888016" y="4275595"/>
            <a:ext cx="333003" cy="334852"/>
            <a:chOff x="3746500" y="1344613"/>
            <a:chExt cx="285750" cy="287338"/>
          </a:xfrm>
          <a:solidFill>
            <a:schemeClr val="accent1"/>
          </a:solidFill>
          <a:effectLst/>
        </p:grpSpPr>
        <p:sp>
          <p:nvSpPr>
            <p:cNvPr id="85" name="Freeform 497">
              <a:extLst>
                <a:ext uri="{FF2B5EF4-FFF2-40B4-BE49-F238E27FC236}">
                  <a16:creationId xmlns:a16="http://schemas.microsoft.com/office/drawing/2014/main" id="{401A185B-54BB-4003-AC2C-6ED382C3F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498">
              <a:extLst>
                <a:ext uri="{FF2B5EF4-FFF2-40B4-BE49-F238E27FC236}">
                  <a16:creationId xmlns:a16="http://schemas.microsoft.com/office/drawing/2014/main" id="{CE0B976E-14BA-4C7E-AFC6-2CC7C4351C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499">
              <a:extLst>
                <a:ext uri="{FF2B5EF4-FFF2-40B4-BE49-F238E27FC236}">
                  <a16:creationId xmlns:a16="http://schemas.microsoft.com/office/drawing/2014/main" id="{13A92302-F0CA-44AA-9EF1-A8E1DCAF4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5" name="Freeform 500">
              <a:extLst>
                <a:ext uri="{FF2B5EF4-FFF2-40B4-BE49-F238E27FC236}">
                  <a16:creationId xmlns:a16="http://schemas.microsoft.com/office/drawing/2014/main" id="{4AE1AD0D-61CC-42DE-B3FE-FD081F1AA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6" name="Freeform 501">
              <a:extLst>
                <a:ext uri="{FF2B5EF4-FFF2-40B4-BE49-F238E27FC236}">
                  <a16:creationId xmlns:a16="http://schemas.microsoft.com/office/drawing/2014/main" id="{A414F18A-F4E5-493B-ADF6-3CA29ACD7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8" name="Freeform 502">
              <a:extLst>
                <a:ext uri="{FF2B5EF4-FFF2-40B4-BE49-F238E27FC236}">
                  <a16:creationId xmlns:a16="http://schemas.microsoft.com/office/drawing/2014/main" id="{FEF5E9B3-3884-4535-90BB-D50507FAA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9" name="Freeform 503">
              <a:extLst>
                <a:ext uri="{FF2B5EF4-FFF2-40B4-BE49-F238E27FC236}">
                  <a16:creationId xmlns:a16="http://schemas.microsoft.com/office/drawing/2014/main" id="{55379948-9876-45D6-B25E-B22A146F9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0" name="Freeform 504">
              <a:extLst>
                <a:ext uri="{FF2B5EF4-FFF2-40B4-BE49-F238E27FC236}">
                  <a16:creationId xmlns:a16="http://schemas.microsoft.com/office/drawing/2014/main" id="{ED8B3318-89C1-4B94-AB88-E15DC5D66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BA740D9-6184-46F3-AEA4-54F62A974AF6}"/>
              </a:ext>
            </a:extLst>
          </p:cNvPr>
          <p:cNvGrpSpPr/>
          <p:nvPr/>
        </p:nvGrpSpPr>
        <p:grpSpPr>
          <a:xfrm>
            <a:off x="3433476" y="2859391"/>
            <a:ext cx="371223" cy="344414"/>
            <a:chOff x="9879013" y="2500313"/>
            <a:chExt cx="285750" cy="265113"/>
          </a:xfrm>
          <a:solidFill>
            <a:schemeClr val="accent1"/>
          </a:solidFill>
          <a:effectLst/>
        </p:grpSpPr>
        <p:sp>
          <p:nvSpPr>
            <p:cNvPr id="122" name="Freeform 3859">
              <a:extLst>
                <a:ext uri="{FF2B5EF4-FFF2-40B4-BE49-F238E27FC236}">
                  <a16:creationId xmlns:a16="http://schemas.microsoft.com/office/drawing/2014/main" id="{C4B6C848-3A28-4078-BDD9-E7EF085EC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3" name="Freeform 3860">
              <a:extLst>
                <a:ext uri="{FF2B5EF4-FFF2-40B4-BE49-F238E27FC236}">
                  <a16:creationId xmlns:a16="http://schemas.microsoft.com/office/drawing/2014/main" id="{66BC00C1-682B-4D0A-8016-AF3E110175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4" name="Freeform 3861">
              <a:extLst>
                <a:ext uri="{FF2B5EF4-FFF2-40B4-BE49-F238E27FC236}">
                  <a16:creationId xmlns:a16="http://schemas.microsoft.com/office/drawing/2014/main" id="{C64B35FF-4F41-44ED-AA0F-3F627B3BC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5" name="Freeform 3862">
              <a:extLst>
                <a:ext uri="{FF2B5EF4-FFF2-40B4-BE49-F238E27FC236}">
                  <a16:creationId xmlns:a16="http://schemas.microsoft.com/office/drawing/2014/main" id="{1EE8525A-CB8A-4ACE-A02E-A8188A1B4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8" name="Diamond 7">
            <a:extLst>
              <a:ext uri="{FF2B5EF4-FFF2-40B4-BE49-F238E27FC236}">
                <a16:creationId xmlns:a16="http://schemas.microsoft.com/office/drawing/2014/main" id="{93542F45-F86D-4BFB-AD3C-F3569FF97889}"/>
              </a:ext>
            </a:extLst>
          </p:cNvPr>
          <p:cNvSpPr/>
          <p:nvPr/>
        </p:nvSpPr>
        <p:spPr>
          <a:xfrm>
            <a:off x="6856326" y="1405657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2483BC18-0A05-4FF8-B031-03F40068091B}"/>
              </a:ext>
            </a:extLst>
          </p:cNvPr>
          <p:cNvGrpSpPr/>
          <p:nvPr/>
        </p:nvGrpSpPr>
        <p:grpSpPr>
          <a:xfrm>
            <a:off x="7183425" y="1733475"/>
            <a:ext cx="260202" cy="258764"/>
            <a:chOff x="7018338" y="4656138"/>
            <a:chExt cx="287337" cy="285750"/>
          </a:xfrm>
          <a:solidFill>
            <a:schemeClr val="bg1"/>
          </a:solidFill>
          <a:effectLst/>
        </p:grpSpPr>
        <p:sp>
          <p:nvSpPr>
            <p:cNvPr id="163" name="Freeform 4604">
              <a:extLst>
                <a:ext uri="{FF2B5EF4-FFF2-40B4-BE49-F238E27FC236}">
                  <a16:creationId xmlns:a16="http://schemas.microsoft.com/office/drawing/2014/main" id="{DA1316D7-5899-4370-95D5-FD8C6DF3EC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4" name="Freeform 4605">
              <a:extLst>
                <a:ext uri="{FF2B5EF4-FFF2-40B4-BE49-F238E27FC236}">
                  <a16:creationId xmlns:a16="http://schemas.microsoft.com/office/drawing/2014/main" id="{15640447-21BA-483E-AD33-E186BD68A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5" name="Freeform 4606">
              <a:extLst>
                <a:ext uri="{FF2B5EF4-FFF2-40B4-BE49-F238E27FC236}">
                  <a16:creationId xmlns:a16="http://schemas.microsoft.com/office/drawing/2014/main" id="{62C9B6C1-8369-4602-91DA-09AEC5202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6" name="Rectangle 4607">
              <a:extLst>
                <a:ext uri="{FF2B5EF4-FFF2-40B4-BE49-F238E27FC236}">
                  <a16:creationId xmlns:a16="http://schemas.microsoft.com/office/drawing/2014/main" id="{FAFE3EE4-8EC8-4735-B429-8DFE7550B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68" name="TextBox 167">
            <a:extLst>
              <a:ext uri="{FF2B5EF4-FFF2-40B4-BE49-F238E27FC236}">
                <a16:creationId xmlns:a16="http://schemas.microsoft.com/office/drawing/2014/main" id="{39F335A2-FCEA-482E-AF80-46BFB511CD58}"/>
              </a:ext>
            </a:extLst>
          </p:cNvPr>
          <p:cNvSpPr txBox="1"/>
          <p:nvPr/>
        </p:nvSpPr>
        <p:spPr>
          <a:xfrm>
            <a:off x="7901716" y="1493525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sp>
        <p:nvSpPr>
          <p:cNvPr id="169" name="Diamond 168">
            <a:extLst>
              <a:ext uri="{FF2B5EF4-FFF2-40B4-BE49-F238E27FC236}">
                <a16:creationId xmlns:a16="http://schemas.microsoft.com/office/drawing/2014/main" id="{56C7CE62-F75C-4C0A-A2D8-6FC23C3737A4}"/>
              </a:ext>
            </a:extLst>
          </p:cNvPr>
          <p:cNvSpPr/>
          <p:nvPr/>
        </p:nvSpPr>
        <p:spPr>
          <a:xfrm>
            <a:off x="6856326" y="2496078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C66ED090-369C-490D-887B-19C18EA591E3}"/>
              </a:ext>
            </a:extLst>
          </p:cNvPr>
          <p:cNvSpPr txBox="1"/>
          <p:nvPr/>
        </p:nvSpPr>
        <p:spPr>
          <a:xfrm>
            <a:off x="7901716" y="2583946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sp>
        <p:nvSpPr>
          <p:cNvPr id="171" name="Diamond 170">
            <a:extLst>
              <a:ext uri="{FF2B5EF4-FFF2-40B4-BE49-F238E27FC236}">
                <a16:creationId xmlns:a16="http://schemas.microsoft.com/office/drawing/2014/main" id="{428797F2-A3E5-4A66-9ADE-53005BF2C0EA}"/>
              </a:ext>
            </a:extLst>
          </p:cNvPr>
          <p:cNvSpPr/>
          <p:nvPr/>
        </p:nvSpPr>
        <p:spPr>
          <a:xfrm>
            <a:off x="6856326" y="3674367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AE125C24-E68B-430E-AB26-898D61631B1B}"/>
              </a:ext>
            </a:extLst>
          </p:cNvPr>
          <p:cNvSpPr txBox="1"/>
          <p:nvPr/>
        </p:nvSpPr>
        <p:spPr>
          <a:xfrm>
            <a:off x="7901716" y="3762235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sp>
        <p:nvSpPr>
          <p:cNvPr id="173" name="Diamond 172">
            <a:extLst>
              <a:ext uri="{FF2B5EF4-FFF2-40B4-BE49-F238E27FC236}">
                <a16:creationId xmlns:a16="http://schemas.microsoft.com/office/drawing/2014/main" id="{066DACD9-1DF3-4A2E-989D-F8AE0A7E8B5A}"/>
              </a:ext>
            </a:extLst>
          </p:cNvPr>
          <p:cNvSpPr/>
          <p:nvPr/>
        </p:nvSpPr>
        <p:spPr>
          <a:xfrm>
            <a:off x="6856326" y="4852656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9FF4A209-6BAD-4B47-BF8D-2B844BFC3C65}"/>
              </a:ext>
            </a:extLst>
          </p:cNvPr>
          <p:cNvSpPr txBox="1"/>
          <p:nvPr/>
        </p:nvSpPr>
        <p:spPr>
          <a:xfrm>
            <a:off x="7901716" y="4940524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1D175F66-0044-4EFE-A6E1-A7F83915FDA2}"/>
              </a:ext>
            </a:extLst>
          </p:cNvPr>
          <p:cNvGrpSpPr/>
          <p:nvPr/>
        </p:nvGrpSpPr>
        <p:grpSpPr>
          <a:xfrm>
            <a:off x="7160129" y="2810958"/>
            <a:ext cx="306795" cy="284640"/>
            <a:chOff x="9879013" y="2500313"/>
            <a:chExt cx="285750" cy="265113"/>
          </a:xfrm>
          <a:solidFill>
            <a:schemeClr val="bg1"/>
          </a:solidFill>
          <a:effectLst/>
        </p:grpSpPr>
        <p:sp>
          <p:nvSpPr>
            <p:cNvPr id="176" name="Freeform 3859">
              <a:extLst>
                <a:ext uri="{FF2B5EF4-FFF2-40B4-BE49-F238E27FC236}">
                  <a16:creationId xmlns:a16="http://schemas.microsoft.com/office/drawing/2014/main" id="{D59C5855-C93B-435E-AECC-A6C9C2DB4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7" name="Freeform 3860">
              <a:extLst>
                <a:ext uri="{FF2B5EF4-FFF2-40B4-BE49-F238E27FC236}">
                  <a16:creationId xmlns:a16="http://schemas.microsoft.com/office/drawing/2014/main" id="{FAA38EA9-11A1-46F9-90B6-88EED9956E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8" name="Freeform 3861">
              <a:extLst>
                <a:ext uri="{FF2B5EF4-FFF2-40B4-BE49-F238E27FC236}">
                  <a16:creationId xmlns:a16="http://schemas.microsoft.com/office/drawing/2014/main" id="{5FE4E2E6-EF5D-41E2-80BA-16AD162C4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9" name="Freeform 3862">
              <a:extLst>
                <a:ext uri="{FF2B5EF4-FFF2-40B4-BE49-F238E27FC236}">
                  <a16:creationId xmlns:a16="http://schemas.microsoft.com/office/drawing/2014/main" id="{BC5F3C89-C1A7-482A-A6CC-487DCE74A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BCA6B272-E663-45EB-8312-08050FFB902C}"/>
              </a:ext>
            </a:extLst>
          </p:cNvPr>
          <p:cNvGrpSpPr/>
          <p:nvPr/>
        </p:nvGrpSpPr>
        <p:grpSpPr>
          <a:xfrm>
            <a:off x="7175923" y="3989247"/>
            <a:ext cx="275206" cy="284640"/>
            <a:chOff x="11612563" y="4081463"/>
            <a:chExt cx="277813" cy="287337"/>
          </a:xfrm>
          <a:solidFill>
            <a:schemeClr val="bg1"/>
          </a:solidFill>
          <a:effectLst/>
        </p:grpSpPr>
        <p:sp>
          <p:nvSpPr>
            <p:cNvPr id="181" name="Freeform 4632">
              <a:extLst>
                <a:ext uri="{FF2B5EF4-FFF2-40B4-BE49-F238E27FC236}">
                  <a16:creationId xmlns:a16="http://schemas.microsoft.com/office/drawing/2014/main" id="{8186B085-923B-4A4C-A7C6-9F3173EF40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6850" y="4081463"/>
              <a:ext cx="249238" cy="173038"/>
            </a:xfrm>
            <a:custGeom>
              <a:avLst/>
              <a:gdLst>
                <a:gd name="T0" fmla="*/ 452 w 784"/>
                <a:gd name="T1" fmla="*/ 120 h 542"/>
                <a:gd name="T2" fmla="*/ 302 w 784"/>
                <a:gd name="T3" fmla="*/ 150 h 542"/>
                <a:gd name="T4" fmla="*/ 16 w 784"/>
                <a:gd name="T5" fmla="*/ 542 h 542"/>
                <a:gd name="T6" fmla="*/ 772 w 784"/>
                <a:gd name="T7" fmla="*/ 542 h 542"/>
                <a:gd name="T8" fmla="*/ 777 w 784"/>
                <a:gd name="T9" fmla="*/ 539 h 542"/>
                <a:gd name="T10" fmla="*/ 781 w 784"/>
                <a:gd name="T11" fmla="*/ 535 h 542"/>
                <a:gd name="T12" fmla="*/ 783 w 784"/>
                <a:gd name="T13" fmla="*/ 529 h 542"/>
                <a:gd name="T14" fmla="*/ 784 w 784"/>
                <a:gd name="T15" fmla="*/ 135 h 542"/>
                <a:gd name="T16" fmla="*/ 783 w 784"/>
                <a:gd name="T17" fmla="*/ 129 h 542"/>
                <a:gd name="T18" fmla="*/ 780 w 784"/>
                <a:gd name="T19" fmla="*/ 125 h 542"/>
                <a:gd name="T20" fmla="*/ 775 w 784"/>
                <a:gd name="T21" fmla="*/ 121 h 542"/>
                <a:gd name="T22" fmla="*/ 768 w 784"/>
                <a:gd name="T23" fmla="*/ 120 h 542"/>
                <a:gd name="T24" fmla="*/ 483 w 784"/>
                <a:gd name="T25" fmla="*/ 105 h 542"/>
                <a:gd name="T26" fmla="*/ 481 w 784"/>
                <a:gd name="T27" fmla="*/ 99 h 542"/>
                <a:gd name="T28" fmla="*/ 478 w 784"/>
                <a:gd name="T29" fmla="*/ 94 h 542"/>
                <a:gd name="T30" fmla="*/ 474 w 784"/>
                <a:gd name="T31" fmla="*/ 91 h 542"/>
                <a:gd name="T32" fmla="*/ 468 w 784"/>
                <a:gd name="T33" fmla="*/ 90 h 542"/>
                <a:gd name="T34" fmla="*/ 392 w 784"/>
                <a:gd name="T35" fmla="*/ 14 h 542"/>
                <a:gd name="T36" fmla="*/ 391 w 784"/>
                <a:gd name="T37" fmla="*/ 9 h 542"/>
                <a:gd name="T38" fmla="*/ 388 w 784"/>
                <a:gd name="T39" fmla="*/ 4 h 542"/>
                <a:gd name="T40" fmla="*/ 383 w 784"/>
                <a:gd name="T41" fmla="*/ 1 h 542"/>
                <a:gd name="T42" fmla="*/ 378 w 784"/>
                <a:gd name="T43" fmla="*/ 0 h 542"/>
                <a:gd name="T44" fmla="*/ 371 w 784"/>
                <a:gd name="T45" fmla="*/ 1 h 542"/>
                <a:gd name="T46" fmla="*/ 366 w 784"/>
                <a:gd name="T47" fmla="*/ 4 h 542"/>
                <a:gd name="T48" fmla="*/ 363 w 784"/>
                <a:gd name="T49" fmla="*/ 9 h 542"/>
                <a:gd name="T50" fmla="*/ 362 w 784"/>
                <a:gd name="T51" fmla="*/ 14 h 542"/>
                <a:gd name="T52" fmla="*/ 287 w 784"/>
                <a:gd name="T53" fmla="*/ 90 h 542"/>
                <a:gd name="T54" fmla="*/ 282 w 784"/>
                <a:gd name="T55" fmla="*/ 91 h 542"/>
                <a:gd name="T56" fmla="*/ 276 w 784"/>
                <a:gd name="T57" fmla="*/ 94 h 542"/>
                <a:gd name="T58" fmla="*/ 273 w 784"/>
                <a:gd name="T59" fmla="*/ 99 h 542"/>
                <a:gd name="T60" fmla="*/ 271 w 784"/>
                <a:gd name="T61" fmla="*/ 105 h 542"/>
                <a:gd name="T62" fmla="*/ 16 w 784"/>
                <a:gd name="T63" fmla="*/ 120 h 542"/>
                <a:gd name="T64" fmla="*/ 11 w 784"/>
                <a:gd name="T65" fmla="*/ 121 h 542"/>
                <a:gd name="T66" fmla="*/ 5 w 784"/>
                <a:gd name="T67" fmla="*/ 125 h 542"/>
                <a:gd name="T68" fmla="*/ 1 w 784"/>
                <a:gd name="T69" fmla="*/ 129 h 542"/>
                <a:gd name="T70" fmla="*/ 0 w 784"/>
                <a:gd name="T71" fmla="*/ 135 h 542"/>
                <a:gd name="T72" fmla="*/ 1 w 784"/>
                <a:gd name="T73" fmla="*/ 529 h 542"/>
                <a:gd name="T74" fmla="*/ 4 w 784"/>
                <a:gd name="T75" fmla="*/ 535 h 542"/>
                <a:gd name="T76" fmla="*/ 7 w 784"/>
                <a:gd name="T77" fmla="*/ 539 h 542"/>
                <a:gd name="T78" fmla="*/ 13 w 784"/>
                <a:gd name="T79" fmla="*/ 542 h 542"/>
                <a:gd name="T80" fmla="*/ 16 w 784"/>
                <a:gd name="T81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4" h="542">
                  <a:moveTo>
                    <a:pt x="302" y="120"/>
                  </a:moveTo>
                  <a:lnTo>
                    <a:pt x="452" y="120"/>
                  </a:lnTo>
                  <a:lnTo>
                    <a:pt x="452" y="150"/>
                  </a:lnTo>
                  <a:lnTo>
                    <a:pt x="302" y="150"/>
                  </a:lnTo>
                  <a:lnTo>
                    <a:pt x="302" y="120"/>
                  </a:lnTo>
                  <a:close/>
                  <a:moveTo>
                    <a:pt x="16" y="542"/>
                  </a:moveTo>
                  <a:lnTo>
                    <a:pt x="768" y="542"/>
                  </a:lnTo>
                  <a:lnTo>
                    <a:pt x="772" y="542"/>
                  </a:lnTo>
                  <a:lnTo>
                    <a:pt x="775" y="540"/>
                  </a:lnTo>
                  <a:lnTo>
                    <a:pt x="777" y="539"/>
                  </a:lnTo>
                  <a:lnTo>
                    <a:pt x="780" y="537"/>
                  </a:lnTo>
                  <a:lnTo>
                    <a:pt x="781" y="535"/>
                  </a:lnTo>
                  <a:lnTo>
                    <a:pt x="783" y="533"/>
                  </a:lnTo>
                  <a:lnTo>
                    <a:pt x="783" y="529"/>
                  </a:lnTo>
                  <a:lnTo>
                    <a:pt x="784" y="527"/>
                  </a:lnTo>
                  <a:lnTo>
                    <a:pt x="784" y="135"/>
                  </a:lnTo>
                  <a:lnTo>
                    <a:pt x="783" y="132"/>
                  </a:lnTo>
                  <a:lnTo>
                    <a:pt x="783" y="129"/>
                  </a:lnTo>
                  <a:lnTo>
                    <a:pt x="781" y="127"/>
                  </a:lnTo>
                  <a:lnTo>
                    <a:pt x="780" y="125"/>
                  </a:lnTo>
                  <a:lnTo>
                    <a:pt x="777" y="123"/>
                  </a:lnTo>
                  <a:lnTo>
                    <a:pt x="775" y="121"/>
                  </a:lnTo>
                  <a:lnTo>
                    <a:pt x="772" y="120"/>
                  </a:lnTo>
                  <a:lnTo>
                    <a:pt x="768" y="120"/>
                  </a:lnTo>
                  <a:lnTo>
                    <a:pt x="483" y="120"/>
                  </a:lnTo>
                  <a:lnTo>
                    <a:pt x="483" y="105"/>
                  </a:lnTo>
                  <a:lnTo>
                    <a:pt x="483" y="102"/>
                  </a:lnTo>
                  <a:lnTo>
                    <a:pt x="481" y="99"/>
                  </a:lnTo>
                  <a:lnTo>
                    <a:pt x="480" y="97"/>
                  </a:lnTo>
                  <a:lnTo>
                    <a:pt x="478" y="94"/>
                  </a:lnTo>
                  <a:lnTo>
                    <a:pt x="476" y="92"/>
                  </a:lnTo>
                  <a:lnTo>
                    <a:pt x="474" y="91"/>
                  </a:lnTo>
                  <a:lnTo>
                    <a:pt x="470" y="90"/>
                  </a:lnTo>
                  <a:lnTo>
                    <a:pt x="468" y="90"/>
                  </a:lnTo>
                  <a:lnTo>
                    <a:pt x="392" y="90"/>
                  </a:lnTo>
                  <a:lnTo>
                    <a:pt x="392" y="14"/>
                  </a:lnTo>
                  <a:lnTo>
                    <a:pt x="392" y="12"/>
                  </a:lnTo>
                  <a:lnTo>
                    <a:pt x="391" y="9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5" y="2"/>
                  </a:lnTo>
                  <a:lnTo>
                    <a:pt x="383" y="1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4" y="0"/>
                  </a:lnTo>
                  <a:lnTo>
                    <a:pt x="371" y="1"/>
                  </a:lnTo>
                  <a:lnTo>
                    <a:pt x="369" y="2"/>
                  </a:lnTo>
                  <a:lnTo>
                    <a:pt x="366" y="4"/>
                  </a:lnTo>
                  <a:lnTo>
                    <a:pt x="365" y="6"/>
                  </a:lnTo>
                  <a:lnTo>
                    <a:pt x="363" y="9"/>
                  </a:lnTo>
                  <a:lnTo>
                    <a:pt x="363" y="12"/>
                  </a:lnTo>
                  <a:lnTo>
                    <a:pt x="362" y="14"/>
                  </a:lnTo>
                  <a:lnTo>
                    <a:pt x="362" y="90"/>
                  </a:lnTo>
                  <a:lnTo>
                    <a:pt x="287" y="90"/>
                  </a:lnTo>
                  <a:lnTo>
                    <a:pt x="284" y="90"/>
                  </a:lnTo>
                  <a:lnTo>
                    <a:pt x="282" y="91"/>
                  </a:lnTo>
                  <a:lnTo>
                    <a:pt x="278" y="92"/>
                  </a:lnTo>
                  <a:lnTo>
                    <a:pt x="276" y="94"/>
                  </a:lnTo>
                  <a:lnTo>
                    <a:pt x="275" y="97"/>
                  </a:lnTo>
                  <a:lnTo>
                    <a:pt x="273" y="99"/>
                  </a:lnTo>
                  <a:lnTo>
                    <a:pt x="273" y="102"/>
                  </a:lnTo>
                  <a:lnTo>
                    <a:pt x="271" y="105"/>
                  </a:lnTo>
                  <a:lnTo>
                    <a:pt x="271" y="120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1" y="121"/>
                  </a:lnTo>
                  <a:lnTo>
                    <a:pt x="7" y="123"/>
                  </a:lnTo>
                  <a:lnTo>
                    <a:pt x="5" y="125"/>
                  </a:lnTo>
                  <a:lnTo>
                    <a:pt x="4" y="127"/>
                  </a:lnTo>
                  <a:lnTo>
                    <a:pt x="1" y="129"/>
                  </a:lnTo>
                  <a:lnTo>
                    <a:pt x="1" y="132"/>
                  </a:lnTo>
                  <a:lnTo>
                    <a:pt x="0" y="135"/>
                  </a:lnTo>
                  <a:lnTo>
                    <a:pt x="0" y="527"/>
                  </a:lnTo>
                  <a:lnTo>
                    <a:pt x="1" y="529"/>
                  </a:lnTo>
                  <a:lnTo>
                    <a:pt x="1" y="533"/>
                  </a:lnTo>
                  <a:lnTo>
                    <a:pt x="4" y="535"/>
                  </a:lnTo>
                  <a:lnTo>
                    <a:pt x="5" y="537"/>
                  </a:lnTo>
                  <a:lnTo>
                    <a:pt x="7" y="539"/>
                  </a:lnTo>
                  <a:lnTo>
                    <a:pt x="11" y="540"/>
                  </a:lnTo>
                  <a:lnTo>
                    <a:pt x="13" y="542"/>
                  </a:lnTo>
                  <a:lnTo>
                    <a:pt x="16" y="542"/>
                  </a:lnTo>
                  <a:lnTo>
                    <a:pt x="16" y="5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2" name="Freeform 4633">
              <a:extLst>
                <a:ext uri="{FF2B5EF4-FFF2-40B4-BE49-F238E27FC236}">
                  <a16:creationId xmlns:a16="http://schemas.microsoft.com/office/drawing/2014/main" id="{93331701-D14D-4015-A07D-590BF5985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2563" y="4264025"/>
              <a:ext cx="277813" cy="104775"/>
            </a:xfrm>
            <a:custGeom>
              <a:avLst/>
              <a:gdLst>
                <a:gd name="T0" fmla="*/ 45 w 874"/>
                <a:gd name="T1" fmla="*/ 0 h 331"/>
                <a:gd name="T2" fmla="*/ 26 w 874"/>
                <a:gd name="T3" fmla="*/ 2 h 331"/>
                <a:gd name="T4" fmla="*/ 13 w 874"/>
                <a:gd name="T5" fmla="*/ 11 h 331"/>
                <a:gd name="T6" fmla="*/ 4 w 874"/>
                <a:gd name="T7" fmla="*/ 26 h 331"/>
                <a:gd name="T8" fmla="*/ 0 w 874"/>
                <a:gd name="T9" fmla="*/ 45 h 331"/>
                <a:gd name="T10" fmla="*/ 4 w 874"/>
                <a:gd name="T11" fmla="*/ 64 h 331"/>
                <a:gd name="T12" fmla="*/ 13 w 874"/>
                <a:gd name="T13" fmla="*/ 78 h 331"/>
                <a:gd name="T14" fmla="*/ 26 w 874"/>
                <a:gd name="T15" fmla="*/ 87 h 331"/>
                <a:gd name="T16" fmla="*/ 45 w 874"/>
                <a:gd name="T17" fmla="*/ 90 h 331"/>
                <a:gd name="T18" fmla="*/ 105 w 874"/>
                <a:gd name="T19" fmla="*/ 310 h 331"/>
                <a:gd name="T20" fmla="*/ 103 w 874"/>
                <a:gd name="T21" fmla="*/ 315 h 331"/>
                <a:gd name="T22" fmla="*/ 104 w 874"/>
                <a:gd name="T23" fmla="*/ 321 h 331"/>
                <a:gd name="T24" fmla="*/ 106 w 874"/>
                <a:gd name="T25" fmla="*/ 325 h 331"/>
                <a:gd name="T26" fmla="*/ 112 w 874"/>
                <a:gd name="T27" fmla="*/ 330 h 331"/>
                <a:gd name="T28" fmla="*/ 119 w 874"/>
                <a:gd name="T29" fmla="*/ 331 h 331"/>
                <a:gd name="T30" fmla="*/ 127 w 874"/>
                <a:gd name="T31" fmla="*/ 329 h 331"/>
                <a:gd name="T32" fmla="*/ 132 w 874"/>
                <a:gd name="T33" fmla="*/ 323 h 331"/>
                <a:gd name="T34" fmla="*/ 407 w 874"/>
                <a:gd name="T35" fmla="*/ 90 h 331"/>
                <a:gd name="T36" fmla="*/ 408 w 874"/>
                <a:gd name="T37" fmla="*/ 319 h 331"/>
                <a:gd name="T38" fmla="*/ 410 w 874"/>
                <a:gd name="T39" fmla="*/ 324 h 331"/>
                <a:gd name="T40" fmla="*/ 414 w 874"/>
                <a:gd name="T41" fmla="*/ 329 h 331"/>
                <a:gd name="T42" fmla="*/ 419 w 874"/>
                <a:gd name="T43" fmla="*/ 331 h 331"/>
                <a:gd name="T44" fmla="*/ 425 w 874"/>
                <a:gd name="T45" fmla="*/ 331 h 331"/>
                <a:gd name="T46" fmla="*/ 430 w 874"/>
                <a:gd name="T47" fmla="*/ 329 h 331"/>
                <a:gd name="T48" fmla="*/ 435 w 874"/>
                <a:gd name="T49" fmla="*/ 324 h 331"/>
                <a:gd name="T50" fmla="*/ 437 w 874"/>
                <a:gd name="T51" fmla="*/ 319 h 331"/>
                <a:gd name="T52" fmla="*/ 437 w 874"/>
                <a:gd name="T53" fmla="*/ 90 h 331"/>
                <a:gd name="T54" fmla="*/ 713 w 874"/>
                <a:gd name="T55" fmla="*/ 323 h 331"/>
                <a:gd name="T56" fmla="*/ 718 w 874"/>
                <a:gd name="T57" fmla="*/ 329 h 331"/>
                <a:gd name="T58" fmla="*/ 726 w 874"/>
                <a:gd name="T59" fmla="*/ 331 h 331"/>
                <a:gd name="T60" fmla="*/ 733 w 874"/>
                <a:gd name="T61" fmla="*/ 330 h 331"/>
                <a:gd name="T62" fmla="*/ 738 w 874"/>
                <a:gd name="T63" fmla="*/ 325 h 331"/>
                <a:gd name="T64" fmla="*/ 740 w 874"/>
                <a:gd name="T65" fmla="*/ 321 h 331"/>
                <a:gd name="T66" fmla="*/ 741 w 874"/>
                <a:gd name="T67" fmla="*/ 315 h 331"/>
                <a:gd name="T68" fmla="*/ 739 w 874"/>
                <a:gd name="T69" fmla="*/ 310 h 331"/>
                <a:gd name="T70" fmla="*/ 829 w 874"/>
                <a:gd name="T71" fmla="*/ 90 h 331"/>
                <a:gd name="T72" fmla="*/ 848 w 874"/>
                <a:gd name="T73" fmla="*/ 87 h 331"/>
                <a:gd name="T74" fmla="*/ 862 w 874"/>
                <a:gd name="T75" fmla="*/ 78 h 331"/>
                <a:gd name="T76" fmla="*/ 871 w 874"/>
                <a:gd name="T77" fmla="*/ 64 h 331"/>
                <a:gd name="T78" fmla="*/ 874 w 874"/>
                <a:gd name="T79" fmla="*/ 45 h 331"/>
                <a:gd name="T80" fmla="*/ 871 w 874"/>
                <a:gd name="T81" fmla="*/ 26 h 331"/>
                <a:gd name="T82" fmla="*/ 862 w 874"/>
                <a:gd name="T83" fmla="*/ 11 h 331"/>
                <a:gd name="T84" fmla="*/ 848 w 874"/>
                <a:gd name="T85" fmla="*/ 2 h 331"/>
                <a:gd name="T86" fmla="*/ 829 w 874"/>
                <a:gd name="T87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74" h="331">
                  <a:moveTo>
                    <a:pt x="829" y="0"/>
                  </a:moveTo>
                  <a:lnTo>
                    <a:pt x="45" y="0"/>
                  </a:lnTo>
                  <a:lnTo>
                    <a:pt x="35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3" y="11"/>
                  </a:lnTo>
                  <a:lnTo>
                    <a:pt x="7" y="18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5"/>
                  </a:lnTo>
                  <a:lnTo>
                    <a:pt x="1" y="55"/>
                  </a:lnTo>
                  <a:lnTo>
                    <a:pt x="4" y="64"/>
                  </a:lnTo>
                  <a:lnTo>
                    <a:pt x="7" y="72"/>
                  </a:lnTo>
                  <a:lnTo>
                    <a:pt x="13" y="78"/>
                  </a:lnTo>
                  <a:lnTo>
                    <a:pt x="18" y="84"/>
                  </a:lnTo>
                  <a:lnTo>
                    <a:pt x="26" y="87"/>
                  </a:lnTo>
                  <a:lnTo>
                    <a:pt x="35" y="89"/>
                  </a:lnTo>
                  <a:lnTo>
                    <a:pt x="45" y="90"/>
                  </a:lnTo>
                  <a:lnTo>
                    <a:pt x="217" y="90"/>
                  </a:lnTo>
                  <a:lnTo>
                    <a:pt x="105" y="310"/>
                  </a:lnTo>
                  <a:lnTo>
                    <a:pt x="104" y="312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4" y="321"/>
                  </a:lnTo>
                  <a:lnTo>
                    <a:pt x="105" y="323"/>
                  </a:lnTo>
                  <a:lnTo>
                    <a:pt x="106" y="325"/>
                  </a:lnTo>
                  <a:lnTo>
                    <a:pt x="109" y="328"/>
                  </a:lnTo>
                  <a:lnTo>
                    <a:pt x="112" y="330"/>
                  </a:lnTo>
                  <a:lnTo>
                    <a:pt x="115" y="331"/>
                  </a:lnTo>
                  <a:lnTo>
                    <a:pt x="119" y="331"/>
                  </a:lnTo>
                  <a:lnTo>
                    <a:pt x="122" y="331"/>
                  </a:lnTo>
                  <a:lnTo>
                    <a:pt x="127" y="329"/>
                  </a:lnTo>
                  <a:lnTo>
                    <a:pt x="129" y="326"/>
                  </a:lnTo>
                  <a:lnTo>
                    <a:pt x="132" y="323"/>
                  </a:lnTo>
                  <a:lnTo>
                    <a:pt x="251" y="90"/>
                  </a:lnTo>
                  <a:lnTo>
                    <a:pt x="407" y="90"/>
                  </a:lnTo>
                  <a:lnTo>
                    <a:pt x="407" y="316"/>
                  </a:lnTo>
                  <a:lnTo>
                    <a:pt x="408" y="319"/>
                  </a:lnTo>
                  <a:lnTo>
                    <a:pt x="408" y="322"/>
                  </a:lnTo>
                  <a:lnTo>
                    <a:pt x="410" y="324"/>
                  </a:lnTo>
                  <a:lnTo>
                    <a:pt x="411" y="326"/>
                  </a:lnTo>
                  <a:lnTo>
                    <a:pt x="414" y="329"/>
                  </a:lnTo>
                  <a:lnTo>
                    <a:pt x="416" y="330"/>
                  </a:lnTo>
                  <a:lnTo>
                    <a:pt x="419" y="331"/>
                  </a:lnTo>
                  <a:lnTo>
                    <a:pt x="423" y="331"/>
                  </a:lnTo>
                  <a:lnTo>
                    <a:pt x="425" y="331"/>
                  </a:lnTo>
                  <a:lnTo>
                    <a:pt x="428" y="330"/>
                  </a:lnTo>
                  <a:lnTo>
                    <a:pt x="430" y="329"/>
                  </a:lnTo>
                  <a:lnTo>
                    <a:pt x="433" y="326"/>
                  </a:lnTo>
                  <a:lnTo>
                    <a:pt x="435" y="324"/>
                  </a:lnTo>
                  <a:lnTo>
                    <a:pt x="436" y="322"/>
                  </a:lnTo>
                  <a:lnTo>
                    <a:pt x="437" y="319"/>
                  </a:lnTo>
                  <a:lnTo>
                    <a:pt x="437" y="316"/>
                  </a:lnTo>
                  <a:lnTo>
                    <a:pt x="437" y="90"/>
                  </a:lnTo>
                  <a:lnTo>
                    <a:pt x="594" y="90"/>
                  </a:lnTo>
                  <a:lnTo>
                    <a:pt x="713" y="323"/>
                  </a:lnTo>
                  <a:lnTo>
                    <a:pt x="715" y="326"/>
                  </a:lnTo>
                  <a:lnTo>
                    <a:pt x="718" y="329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3" y="330"/>
                  </a:lnTo>
                  <a:lnTo>
                    <a:pt x="735" y="328"/>
                  </a:lnTo>
                  <a:lnTo>
                    <a:pt x="738" y="325"/>
                  </a:lnTo>
                  <a:lnTo>
                    <a:pt x="739" y="323"/>
                  </a:lnTo>
                  <a:lnTo>
                    <a:pt x="740" y="321"/>
                  </a:lnTo>
                  <a:lnTo>
                    <a:pt x="741" y="317"/>
                  </a:lnTo>
                  <a:lnTo>
                    <a:pt x="741" y="315"/>
                  </a:lnTo>
                  <a:lnTo>
                    <a:pt x="740" y="312"/>
                  </a:lnTo>
                  <a:lnTo>
                    <a:pt x="739" y="310"/>
                  </a:lnTo>
                  <a:lnTo>
                    <a:pt x="627" y="90"/>
                  </a:lnTo>
                  <a:lnTo>
                    <a:pt x="829" y="90"/>
                  </a:lnTo>
                  <a:lnTo>
                    <a:pt x="839" y="89"/>
                  </a:lnTo>
                  <a:lnTo>
                    <a:pt x="848" y="87"/>
                  </a:lnTo>
                  <a:lnTo>
                    <a:pt x="856" y="84"/>
                  </a:lnTo>
                  <a:lnTo>
                    <a:pt x="862" y="78"/>
                  </a:lnTo>
                  <a:lnTo>
                    <a:pt x="868" y="72"/>
                  </a:lnTo>
                  <a:lnTo>
                    <a:pt x="871" y="64"/>
                  </a:lnTo>
                  <a:lnTo>
                    <a:pt x="873" y="55"/>
                  </a:lnTo>
                  <a:lnTo>
                    <a:pt x="874" y="45"/>
                  </a:lnTo>
                  <a:lnTo>
                    <a:pt x="873" y="35"/>
                  </a:lnTo>
                  <a:lnTo>
                    <a:pt x="871" y="26"/>
                  </a:lnTo>
                  <a:lnTo>
                    <a:pt x="868" y="18"/>
                  </a:lnTo>
                  <a:lnTo>
                    <a:pt x="862" y="11"/>
                  </a:lnTo>
                  <a:lnTo>
                    <a:pt x="856" y="7"/>
                  </a:lnTo>
                  <a:lnTo>
                    <a:pt x="848" y="2"/>
                  </a:lnTo>
                  <a:lnTo>
                    <a:pt x="839" y="0"/>
                  </a:lnTo>
                  <a:lnTo>
                    <a:pt x="829" y="0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6D205CE3-4876-4539-B106-24A988A06D0B}"/>
              </a:ext>
            </a:extLst>
          </p:cNvPr>
          <p:cNvGrpSpPr/>
          <p:nvPr/>
        </p:nvGrpSpPr>
        <p:grpSpPr>
          <a:xfrm>
            <a:off x="7175922" y="5171488"/>
            <a:ext cx="275209" cy="276737"/>
            <a:chOff x="3746500" y="1344613"/>
            <a:chExt cx="285750" cy="287338"/>
          </a:xfrm>
          <a:solidFill>
            <a:schemeClr val="bg1"/>
          </a:solidFill>
          <a:effectLst/>
        </p:grpSpPr>
        <p:sp>
          <p:nvSpPr>
            <p:cNvPr id="184" name="Freeform 497">
              <a:extLst>
                <a:ext uri="{FF2B5EF4-FFF2-40B4-BE49-F238E27FC236}">
                  <a16:creationId xmlns:a16="http://schemas.microsoft.com/office/drawing/2014/main" id="{11C8E758-EBBC-4356-8771-1364C410B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5" name="Freeform 498">
              <a:extLst>
                <a:ext uri="{FF2B5EF4-FFF2-40B4-BE49-F238E27FC236}">
                  <a16:creationId xmlns:a16="http://schemas.microsoft.com/office/drawing/2014/main" id="{E116885A-F6E8-44C4-BD85-ADCD0E8ADF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6" name="Freeform 499">
              <a:extLst>
                <a:ext uri="{FF2B5EF4-FFF2-40B4-BE49-F238E27FC236}">
                  <a16:creationId xmlns:a16="http://schemas.microsoft.com/office/drawing/2014/main" id="{BF723C2A-68AB-402A-BD7B-74F250598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7" name="Freeform 500">
              <a:extLst>
                <a:ext uri="{FF2B5EF4-FFF2-40B4-BE49-F238E27FC236}">
                  <a16:creationId xmlns:a16="http://schemas.microsoft.com/office/drawing/2014/main" id="{8CCE3DC2-BC96-4CB2-BA52-FB839C44E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8" name="Freeform 501">
              <a:extLst>
                <a:ext uri="{FF2B5EF4-FFF2-40B4-BE49-F238E27FC236}">
                  <a16:creationId xmlns:a16="http://schemas.microsoft.com/office/drawing/2014/main" id="{45F53EB3-4D70-48ED-B816-5993B8842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9" name="Freeform 502">
              <a:extLst>
                <a:ext uri="{FF2B5EF4-FFF2-40B4-BE49-F238E27FC236}">
                  <a16:creationId xmlns:a16="http://schemas.microsoft.com/office/drawing/2014/main" id="{40645D42-F2CB-4C6A-B678-6C2669FF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0" name="Freeform 503">
              <a:extLst>
                <a:ext uri="{FF2B5EF4-FFF2-40B4-BE49-F238E27FC236}">
                  <a16:creationId xmlns:a16="http://schemas.microsoft.com/office/drawing/2014/main" id="{64966824-90E7-4B8A-865E-6DCE71404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1" name="Freeform 504">
              <a:extLst>
                <a:ext uri="{FF2B5EF4-FFF2-40B4-BE49-F238E27FC236}">
                  <a16:creationId xmlns:a16="http://schemas.microsoft.com/office/drawing/2014/main" id="{80ED3752-E23E-4EA7-A6B8-F8609DBFD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0855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3/27/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9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BC6538B6-6A20-4BDA-BF9C-9696A92681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4167635"/>
              </p:ext>
            </p:extLst>
          </p:nvPr>
        </p:nvGraphicFramePr>
        <p:xfrm>
          <a:off x="1472901" y="1028700"/>
          <a:ext cx="9246199" cy="425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2" name="TextBox 71">
            <a:extLst>
              <a:ext uri="{FF2B5EF4-FFF2-40B4-BE49-F238E27FC236}">
                <a16:creationId xmlns:a16="http://schemas.microsoft.com/office/drawing/2014/main" id="{4427123D-9A25-4845-A3EB-66E9EE38DAA6}"/>
              </a:ext>
            </a:extLst>
          </p:cNvPr>
          <p:cNvSpPr txBox="1"/>
          <p:nvPr/>
        </p:nvSpPr>
        <p:spPr>
          <a:xfrm flipH="1">
            <a:off x="2738035" y="1668248"/>
            <a:ext cx="1056723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C0AF363-3630-4546-8AF7-81903D8379F1}"/>
              </a:ext>
            </a:extLst>
          </p:cNvPr>
          <p:cNvSpPr/>
          <p:nvPr/>
        </p:nvSpPr>
        <p:spPr>
          <a:xfrm>
            <a:off x="3387733" y="1164150"/>
            <a:ext cx="467774" cy="467774"/>
          </a:xfrm>
          <a:prstGeom prst="ellipse">
            <a:avLst/>
          </a:prstGeom>
          <a:solidFill>
            <a:schemeClr val="tx2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D2778FD7-7C5D-464B-8EBE-B176C2E015B8}"/>
              </a:ext>
            </a:extLst>
          </p:cNvPr>
          <p:cNvSpPr txBox="1"/>
          <p:nvPr/>
        </p:nvSpPr>
        <p:spPr>
          <a:xfrm flipH="1">
            <a:off x="4873585" y="2902377"/>
            <a:ext cx="1056724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A4E6BA84-35E5-41BE-87C2-A1FB4E4E3114}"/>
              </a:ext>
            </a:extLst>
          </p:cNvPr>
          <p:cNvSpPr/>
          <p:nvPr/>
        </p:nvSpPr>
        <p:spPr>
          <a:xfrm flipH="1">
            <a:off x="5527087" y="2364966"/>
            <a:ext cx="467774" cy="467774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E15E22D0-0454-4295-A57D-EE689CB30734}"/>
              </a:ext>
            </a:extLst>
          </p:cNvPr>
          <p:cNvSpPr txBox="1"/>
          <p:nvPr/>
        </p:nvSpPr>
        <p:spPr>
          <a:xfrm flipH="1">
            <a:off x="7782851" y="1905558"/>
            <a:ext cx="1056723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2A86F12D-9150-451C-A0B9-A62AB4E80E58}"/>
              </a:ext>
            </a:extLst>
          </p:cNvPr>
          <p:cNvSpPr/>
          <p:nvPr/>
        </p:nvSpPr>
        <p:spPr>
          <a:xfrm>
            <a:off x="8432549" y="1401460"/>
            <a:ext cx="467774" cy="467774"/>
          </a:xfrm>
          <a:prstGeom prst="ellipse">
            <a:avLst/>
          </a:prstGeom>
          <a:solidFill>
            <a:schemeClr val="tx2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D42C1B9E-D3C3-4D37-B66C-3034B5434F61}"/>
              </a:ext>
            </a:extLst>
          </p:cNvPr>
          <p:cNvSpPr txBox="1"/>
          <p:nvPr/>
        </p:nvSpPr>
        <p:spPr>
          <a:xfrm flipH="1">
            <a:off x="9267663" y="2752885"/>
            <a:ext cx="1056723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1259B2AB-5876-4C08-8803-5AABFCAC99E0}"/>
              </a:ext>
            </a:extLst>
          </p:cNvPr>
          <p:cNvSpPr/>
          <p:nvPr/>
        </p:nvSpPr>
        <p:spPr>
          <a:xfrm>
            <a:off x="9917361" y="2248787"/>
            <a:ext cx="467774" cy="467774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3F6561A-4B6B-4116-BBE1-38A9BD4CB1AB}"/>
              </a:ext>
            </a:extLst>
          </p:cNvPr>
          <p:cNvGrpSpPr/>
          <p:nvPr/>
        </p:nvGrpSpPr>
        <p:grpSpPr>
          <a:xfrm>
            <a:off x="3523493" y="1308041"/>
            <a:ext cx="196255" cy="179992"/>
            <a:chOff x="3171825" y="1368425"/>
            <a:chExt cx="287338" cy="263526"/>
          </a:xfrm>
          <a:solidFill>
            <a:schemeClr val="bg1"/>
          </a:solidFill>
        </p:grpSpPr>
        <p:sp>
          <p:nvSpPr>
            <p:cNvPr id="143" name="Freeform 466">
              <a:extLst>
                <a:ext uri="{FF2B5EF4-FFF2-40B4-BE49-F238E27FC236}">
                  <a16:creationId xmlns:a16="http://schemas.microsoft.com/office/drawing/2014/main" id="{1CCC77B1-A698-4B3A-B327-778012637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98613"/>
              <a:ext cx="49213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136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467">
              <a:extLst>
                <a:ext uri="{FF2B5EF4-FFF2-40B4-BE49-F238E27FC236}">
                  <a16:creationId xmlns:a16="http://schemas.microsoft.com/office/drawing/2014/main" id="{749D072B-F2A7-4ADE-BFD7-DC9677D27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98613"/>
              <a:ext cx="28575" cy="33338"/>
            </a:xfrm>
            <a:custGeom>
              <a:avLst/>
              <a:gdLst>
                <a:gd name="T0" fmla="*/ 75 w 90"/>
                <a:gd name="T1" fmla="*/ 0 h 106"/>
                <a:gd name="T2" fmla="*/ 0 w 90"/>
                <a:gd name="T3" fmla="*/ 0 h 106"/>
                <a:gd name="T4" fmla="*/ 0 w 90"/>
                <a:gd name="T5" fmla="*/ 106 h 106"/>
                <a:gd name="T6" fmla="*/ 75 w 90"/>
                <a:gd name="T7" fmla="*/ 106 h 106"/>
                <a:gd name="T8" fmla="*/ 78 w 90"/>
                <a:gd name="T9" fmla="*/ 106 h 106"/>
                <a:gd name="T10" fmla="*/ 80 w 90"/>
                <a:gd name="T11" fmla="*/ 104 h 106"/>
                <a:gd name="T12" fmla="*/ 84 w 90"/>
                <a:gd name="T13" fmla="*/ 103 h 106"/>
                <a:gd name="T14" fmla="*/ 86 w 90"/>
                <a:gd name="T15" fmla="*/ 101 h 106"/>
                <a:gd name="T16" fmla="*/ 88 w 90"/>
                <a:gd name="T17" fmla="*/ 99 h 106"/>
                <a:gd name="T18" fmla="*/ 89 w 90"/>
                <a:gd name="T19" fmla="*/ 97 h 106"/>
                <a:gd name="T20" fmla="*/ 90 w 90"/>
                <a:gd name="T21" fmla="*/ 94 h 106"/>
                <a:gd name="T22" fmla="*/ 90 w 90"/>
                <a:gd name="T23" fmla="*/ 91 h 106"/>
                <a:gd name="T24" fmla="*/ 90 w 90"/>
                <a:gd name="T25" fmla="*/ 15 h 106"/>
                <a:gd name="T26" fmla="*/ 90 w 90"/>
                <a:gd name="T27" fmla="*/ 12 h 106"/>
                <a:gd name="T28" fmla="*/ 89 w 90"/>
                <a:gd name="T29" fmla="*/ 10 h 106"/>
                <a:gd name="T30" fmla="*/ 88 w 90"/>
                <a:gd name="T31" fmla="*/ 7 h 106"/>
                <a:gd name="T32" fmla="*/ 86 w 90"/>
                <a:gd name="T33" fmla="*/ 5 h 106"/>
                <a:gd name="T34" fmla="*/ 84 w 90"/>
                <a:gd name="T35" fmla="*/ 4 h 106"/>
                <a:gd name="T36" fmla="*/ 80 w 90"/>
                <a:gd name="T37" fmla="*/ 2 h 106"/>
                <a:gd name="T38" fmla="*/ 78 w 90"/>
                <a:gd name="T39" fmla="*/ 2 h 106"/>
                <a:gd name="T40" fmla="*/ 75 w 90"/>
                <a:gd name="T41" fmla="*/ 0 h 106"/>
                <a:gd name="T42" fmla="*/ 7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75" y="0"/>
                  </a:move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8" y="106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68">
              <a:extLst>
                <a:ext uri="{FF2B5EF4-FFF2-40B4-BE49-F238E27FC236}">
                  <a16:creationId xmlns:a16="http://schemas.microsoft.com/office/drawing/2014/main" id="{E11D8668-AB1D-4158-983C-B10E6C22C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98613"/>
              <a:ext cx="28575" cy="33338"/>
            </a:xfrm>
            <a:custGeom>
              <a:avLst/>
              <a:gdLst>
                <a:gd name="T0" fmla="*/ 15 w 90"/>
                <a:gd name="T1" fmla="*/ 0 h 106"/>
                <a:gd name="T2" fmla="*/ 11 w 90"/>
                <a:gd name="T3" fmla="*/ 0 h 106"/>
                <a:gd name="T4" fmla="*/ 9 w 90"/>
                <a:gd name="T5" fmla="*/ 2 h 106"/>
                <a:gd name="T6" fmla="*/ 6 w 90"/>
                <a:gd name="T7" fmla="*/ 4 h 106"/>
                <a:gd name="T8" fmla="*/ 4 w 90"/>
                <a:gd name="T9" fmla="*/ 5 h 106"/>
                <a:gd name="T10" fmla="*/ 3 w 90"/>
                <a:gd name="T11" fmla="*/ 7 h 106"/>
                <a:gd name="T12" fmla="*/ 1 w 90"/>
                <a:gd name="T13" fmla="*/ 10 h 106"/>
                <a:gd name="T14" fmla="*/ 0 w 90"/>
                <a:gd name="T15" fmla="*/ 12 h 106"/>
                <a:gd name="T16" fmla="*/ 0 w 90"/>
                <a:gd name="T17" fmla="*/ 15 h 106"/>
                <a:gd name="T18" fmla="*/ 0 w 90"/>
                <a:gd name="T19" fmla="*/ 91 h 106"/>
                <a:gd name="T20" fmla="*/ 0 w 90"/>
                <a:gd name="T21" fmla="*/ 94 h 106"/>
                <a:gd name="T22" fmla="*/ 1 w 90"/>
                <a:gd name="T23" fmla="*/ 97 h 106"/>
                <a:gd name="T24" fmla="*/ 3 w 90"/>
                <a:gd name="T25" fmla="*/ 99 h 106"/>
                <a:gd name="T26" fmla="*/ 4 w 90"/>
                <a:gd name="T27" fmla="*/ 101 h 106"/>
                <a:gd name="T28" fmla="*/ 6 w 90"/>
                <a:gd name="T29" fmla="*/ 103 h 106"/>
                <a:gd name="T30" fmla="*/ 9 w 90"/>
                <a:gd name="T31" fmla="*/ 104 h 106"/>
                <a:gd name="T32" fmla="*/ 11 w 90"/>
                <a:gd name="T33" fmla="*/ 106 h 106"/>
                <a:gd name="T34" fmla="*/ 15 w 90"/>
                <a:gd name="T35" fmla="*/ 106 h 106"/>
                <a:gd name="T36" fmla="*/ 90 w 90"/>
                <a:gd name="T37" fmla="*/ 106 h 106"/>
                <a:gd name="T38" fmla="*/ 90 w 90"/>
                <a:gd name="T39" fmla="*/ 0 h 106"/>
                <a:gd name="T40" fmla="*/ 75 w 90"/>
                <a:gd name="T41" fmla="*/ 0 h 106"/>
                <a:gd name="T42" fmla="*/ 1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15" y="0"/>
                  </a:moveTo>
                  <a:lnTo>
                    <a:pt x="11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69">
              <a:extLst>
                <a:ext uri="{FF2B5EF4-FFF2-40B4-BE49-F238E27FC236}">
                  <a16:creationId xmlns:a16="http://schemas.microsoft.com/office/drawing/2014/main" id="{2DB1A9F5-E122-4B10-9022-2EFCB51736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22413"/>
              <a:ext cx="49213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136 w 151"/>
                <a:gd name="T5" fmla="*/ 0 h 105"/>
                <a:gd name="T6" fmla="*/ 0 w 151"/>
                <a:gd name="T7" fmla="*/ 0 h 105"/>
                <a:gd name="T8" fmla="*/ 0 w 151"/>
                <a:gd name="T9" fmla="*/ 105 h 105"/>
                <a:gd name="T10" fmla="*/ 136 w 151"/>
                <a:gd name="T11" fmla="*/ 105 h 105"/>
                <a:gd name="T12" fmla="*/ 151 w 151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36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70">
              <a:extLst>
                <a:ext uri="{FF2B5EF4-FFF2-40B4-BE49-F238E27FC236}">
                  <a16:creationId xmlns:a16="http://schemas.microsoft.com/office/drawing/2014/main" id="{D07A38CE-5246-402A-A2D1-341D3E6F8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22413"/>
              <a:ext cx="28575" cy="33338"/>
            </a:xfrm>
            <a:custGeom>
              <a:avLst/>
              <a:gdLst>
                <a:gd name="T0" fmla="*/ 15 w 90"/>
                <a:gd name="T1" fmla="*/ 0 h 105"/>
                <a:gd name="T2" fmla="*/ 11 w 90"/>
                <a:gd name="T3" fmla="*/ 0 h 105"/>
                <a:gd name="T4" fmla="*/ 9 w 90"/>
                <a:gd name="T5" fmla="*/ 1 h 105"/>
                <a:gd name="T6" fmla="*/ 6 w 90"/>
                <a:gd name="T7" fmla="*/ 2 h 105"/>
                <a:gd name="T8" fmla="*/ 4 w 90"/>
                <a:gd name="T9" fmla="*/ 4 h 105"/>
                <a:gd name="T10" fmla="*/ 3 w 90"/>
                <a:gd name="T11" fmla="*/ 7 h 105"/>
                <a:gd name="T12" fmla="*/ 1 w 90"/>
                <a:gd name="T13" fmla="*/ 9 h 105"/>
                <a:gd name="T14" fmla="*/ 0 w 90"/>
                <a:gd name="T15" fmla="*/ 12 h 105"/>
                <a:gd name="T16" fmla="*/ 0 w 90"/>
                <a:gd name="T17" fmla="*/ 15 h 105"/>
                <a:gd name="T18" fmla="*/ 0 w 90"/>
                <a:gd name="T19" fmla="*/ 90 h 105"/>
                <a:gd name="T20" fmla="*/ 0 w 90"/>
                <a:gd name="T21" fmla="*/ 93 h 105"/>
                <a:gd name="T22" fmla="*/ 1 w 90"/>
                <a:gd name="T23" fmla="*/ 96 h 105"/>
                <a:gd name="T24" fmla="*/ 3 w 90"/>
                <a:gd name="T25" fmla="*/ 99 h 105"/>
                <a:gd name="T26" fmla="*/ 4 w 90"/>
                <a:gd name="T27" fmla="*/ 101 h 105"/>
                <a:gd name="T28" fmla="*/ 6 w 90"/>
                <a:gd name="T29" fmla="*/ 102 h 105"/>
                <a:gd name="T30" fmla="*/ 9 w 90"/>
                <a:gd name="T31" fmla="*/ 104 h 105"/>
                <a:gd name="T32" fmla="*/ 11 w 90"/>
                <a:gd name="T33" fmla="*/ 105 h 105"/>
                <a:gd name="T34" fmla="*/ 15 w 90"/>
                <a:gd name="T35" fmla="*/ 105 h 105"/>
                <a:gd name="T36" fmla="*/ 7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  <a:gd name="T42" fmla="*/ 75 w 90"/>
                <a:gd name="T43" fmla="*/ 0 h 105"/>
                <a:gd name="T44" fmla="*/ 15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15" y="0"/>
                  </a:move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71">
              <a:extLst>
                <a:ext uri="{FF2B5EF4-FFF2-40B4-BE49-F238E27FC236}">
                  <a16:creationId xmlns:a16="http://schemas.microsoft.com/office/drawing/2014/main" id="{90A815AF-A52A-40E1-9042-CE663FB92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22413"/>
              <a:ext cx="28575" cy="33338"/>
            </a:xfrm>
            <a:custGeom>
              <a:avLst/>
              <a:gdLst>
                <a:gd name="T0" fmla="*/ 75 w 90"/>
                <a:gd name="T1" fmla="*/ 0 h 105"/>
                <a:gd name="T2" fmla="*/ 0 w 90"/>
                <a:gd name="T3" fmla="*/ 0 h 105"/>
                <a:gd name="T4" fmla="*/ 0 w 90"/>
                <a:gd name="T5" fmla="*/ 105 h 105"/>
                <a:gd name="T6" fmla="*/ 75 w 90"/>
                <a:gd name="T7" fmla="*/ 105 h 105"/>
                <a:gd name="T8" fmla="*/ 78 w 90"/>
                <a:gd name="T9" fmla="*/ 105 h 105"/>
                <a:gd name="T10" fmla="*/ 80 w 90"/>
                <a:gd name="T11" fmla="*/ 104 h 105"/>
                <a:gd name="T12" fmla="*/ 84 w 90"/>
                <a:gd name="T13" fmla="*/ 102 h 105"/>
                <a:gd name="T14" fmla="*/ 86 w 90"/>
                <a:gd name="T15" fmla="*/ 101 h 105"/>
                <a:gd name="T16" fmla="*/ 88 w 90"/>
                <a:gd name="T17" fmla="*/ 99 h 105"/>
                <a:gd name="T18" fmla="*/ 89 w 90"/>
                <a:gd name="T19" fmla="*/ 96 h 105"/>
                <a:gd name="T20" fmla="*/ 90 w 90"/>
                <a:gd name="T21" fmla="*/ 93 h 105"/>
                <a:gd name="T22" fmla="*/ 90 w 90"/>
                <a:gd name="T23" fmla="*/ 90 h 105"/>
                <a:gd name="T24" fmla="*/ 90 w 90"/>
                <a:gd name="T25" fmla="*/ 15 h 105"/>
                <a:gd name="T26" fmla="*/ 90 w 90"/>
                <a:gd name="T27" fmla="*/ 12 h 105"/>
                <a:gd name="T28" fmla="*/ 89 w 90"/>
                <a:gd name="T29" fmla="*/ 9 h 105"/>
                <a:gd name="T30" fmla="*/ 88 w 90"/>
                <a:gd name="T31" fmla="*/ 7 h 105"/>
                <a:gd name="T32" fmla="*/ 86 w 90"/>
                <a:gd name="T33" fmla="*/ 4 h 105"/>
                <a:gd name="T34" fmla="*/ 84 w 90"/>
                <a:gd name="T35" fmla="*/ 2 h 105"/>
                <a:gd name="T36" fmla="*/ 80 w 90"/>
                <a:gd name="T37" fmla="*/ 1 h 105"/>
                <a:gd name="T38" fmla="*/ 78 w 90"/>
                <a:gd name="T39" fmla="*/ 0 h 105"/>
                <a:gd name="T40" fmla="*/ 75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75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72">
              <a:extLst>
                <a:ext uri="{FF2B5EF4-FFF2-40B4-BE49-F238E27FC236}">
                  <a16:creationId xmlns:a16="http://schemas.microsoft.com/office/drawing/2014/main" id="{F41BAEB1-7F2B-4CA4-9816-857663C99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0875" y="14462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4 h 105"/>
                <a:gd name="T12" fmla="*/ 3 w 90"/>
                <a:gd name="T13" fmla="*/ 6 h 105"/>
                <a:gd name="T14" fmla="*/ 1 w 90"/>
                <a:gd name="T15" fmla="*/ 9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3 h 105"/>
                <a:gd name="T24" fmla="*/ 1 w 90"/>
                <a:gd name="T25" fmla="*/ 96 h 105"/>
                <a:gd name="T26" fmla="*/ 3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45 w 90"/>
                <a:gd name="T39" fmla="*/ 105 h 105"/>
                <a:gd name="T40" fmla="*/ 90 w 90"/>
                <a:gd name="T41" fmla="*/ 105 h 105"/>
                <a:gd name="T42" fmla="*/ 90 w 90"/>
                <a:gd name="T4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73">
              <a:extLst>
                <a:ext uri="{FF2B5EF4-FFF2-40B4-BE49-F238E27FC236}">
                  <a16:creationId xmlns:a16="http://schemas.microsoft.com/office/drawing/2014/main" id="{FA23C9CF-BAE8-419A-B664-D826F6E6E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14462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46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06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4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6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74">
              <a:extLst>
                <a:ext uri="{FF2B5EF4-FFF2-40B4-BE49-F238E27FC236}">
                  <a16:creationId xmlns:a16="http://schemas.microsoft.com/office/drawing/2014/main" id="{F3369CC4-F498-40FD-AFFC-73DA0EF3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713" y="1446213"/>
              <a:ext cx="28575" cy="33338"/>
            </a:xfrm>
            <a:custGeom>
              <a:avLst/>
              <a:gdLst>
                <a:gd name="T0" fmla="*/ 90 w 90"/>
                <a:gd name="T1" fmla="*/ 15 h 105"/>
                <a:gd name="T2" fmla="*/ 90 w 90"/>
                <a:gd name="T3" fmla="*/ 12 h 105"/>
                <a:gd name="T4" fmla="*/ 89 w 90"/>
                <a:gd name="T5" fmla="*/ 9 h 105"/>
                <a:gd name="T6" fmla="*/ 88 w 90"/>
                <a:gd name="T7" fmla="*/ 6 h 105"/>
                <a:gd name="T8" fmla="*/ 86 w 90"/>
                <a:gd name="T9" fmla="*/ 4 h 105"/>
                <a:gd name="T10" fmla="*/ 84 w 90"/>
                <a:gd name="T11" fmla="*/ 2 h 105"/>
                <a:gd name="T12" fmla="*/ 81 w 90"/>
                <a:gd name="T13" fmla="*/ 1 h 105"/>
                <a:gd name="T14" fmla="*/ 78 w 90"/>
                <a:gd name="T15" fmla="*/ 0 h 105"/>
                <a:gd name="T16" fmla="*/ 75 w 90"/>
                <a:gd name="T17" fmla="*/ 0 h 105"/>
                <a:gd name="T18" fmla="*/ 45 w 90"/>
                <a:gd name="T19" fmla="*/ 0 h 105"/>
                <a:gd name="T20" fmla="*/ 0 w 90"/>
                <a:gd name="T21" fmla="*/ 0 h 105"/>
                <a:gd name="T22" fmla="*/ 0 w 90"/>
                <a:gd name="T23" fmla="*/ 105 h 105"/>
                <a:gd name="T24" fmla="*/ 75 w 90"/>
                <a:gd name="T25" fmla="*/ 105 h 105"/>
                <a:gd name="T26" fmla="*/ 78 w 90"/>
                <a:gd name="T27" fmla="*/ 105 h 105"/>
                <a:gd name="T28" fmla="*/ 81 w 90"/>
                <a:gd name="T29" fmla="*/ 104 h 105"/>
                <a:gd name="T30" fmla="*/ 84 w 90"/>
                <a:gd name="T31" fmla="*/ 103 h 105"/>
                <a:gd name="T32" fmla="*/ 86 w 90"/>
                <a:gd name="T33" fmla="*/ 101 h 105"/>
                <a:gd name="T34" fmla="*/ 88 w 90"/>
                <a:gd name="T35" fmla="*/ 99 h 105"/>
                <a:gd name="T36" fmla="*/ 89 w 90"/>
                <a:gd name="T37" fmla="*/ 96 h 105"/>
                <a:gd name="T38" fmla="*/ 90 w 90"/>
                <a:gd name="T39" fmla="*/ 93 h 105"/>
                <a:gd name="T40" fmla="*/ 90 w 90"/>
                <a:gd name="T41" fmla="*/ 90 h 105"/>
                <a:gd name="T42" fmla="*/ 90 w 90"/>
                <a:gd name="T43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15"/>
                  </a:moveTo>
                  <a:lnTo>
                    <a:pt x="90" y="12"/>
                  </a:lnTo>
                  <a:lnTo>
                    <a:pt x="89" y="9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75">
              <a:extLst>
                <a:ext uri="{FF2B5EF4-FFF2-40B4-BE49-F238E27FC236}">
                  <a16:creationId xmlns:a16="http://schemas.microsoft.com/office/drawing/2014/main" id="{E2A9F280-E1E3-4EF7-9895-8443F9991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08113"/>
              <a:ext cx="30163" cy="33338"/>
            </a:xfrm>
            <a:custGeom>
              <a:avLst/>
              <a:gdLst>
                <a:gd name="T0" fmla="*/ 0 w 91"/>
                <a:gd name="T1" fmla="*/ 90 h 105"/>
                <a:gd name="T2" fmla="*/ 1 w 91"/>
                <a:gd name="T3" fmla="*/ 93 h 105"/>
                <a:gd name="T4" fmla="*/ 1 w 91"/>
                <a:gd name="T5" fmla="*/ 95 h 105"/>
                <a:gd name="T6" fmla="*/ 3 w 91"/>
                <a:gd name="T7" fmla="*/ 98 h 105"/>
                <a:gd name="T8" fmla="*/ 4 w 91"/>
                <a:gd name="T9" fmla="*/ 101 h 105"/>
                <a:gd name="T10" fmla="*/ 7 w 91"/>
                <a:gd name="T11" fmla="*/ 103 h 105"/>
                <a:gd name="T12" fmla="*/ 9 w 91"/>
                <a:gd name="T13" fmla="*/ 104 h 105"/>
                <a:gd name="T14" fmla="*/ 13 w 91"/>
                <a:gd name="T15" fmla="*/ 105 h 105"/>
                <a:gd name="T16" fmla="*/ 15 w 91"/>
                <a:gd name="T17" fmla="*/ 105 h 105"/>
                <a:gd name="T18" fmla="*/ 45 w 91"/>
                <a:gd name="T19" fmla="*/ 105 h 105"/>
                <a:gd name="T20" fmla="*/ 91 w 91"/>
                <a:gd name="T21" fmla="*/ 105 h 105"/>
                <a:gd name="T22" fmla="*/ 91 w 91"/>
                <a:gd name="T23" fmla="*/ 0 h 105"/>
                <a:gd name="T24" fmla="*/ 15 w 91"/>
                <a:gd name="T25" fmla="*/ 0 h 105"/>
                <a:gd name="T26" fmla="*/ 13 w 91"/>
                <a:gd name="T27" fmla="*/ 0 h 105"/>
                <a:gd name="T28" fmla="*/ 9 w 91"/>
                <a:gd name="T29" fmla="*/ 1 h 105"/>
                <a:gd name="T30" fmla="*/ 7 w 91"/>
                <a:gd name="T31" fmla="*/ 2 h 105"/>
                <a:gd name="T32" fmla="*/ 4 w 91"/>
                <a:gd name="T33" fmla="*/ 4 h 105"/>
                <a:gd name="T34" fmla="*/ 3 w 91"/>
                <a:gd name="T35" fmla="*/ 6 h 105"/>
                <a:gd name="T36" fmla="*/ 1 w 91"/>
                <a:gd name="T37" fmla="*/ 8 h 105"/>
                <a:gd name="T38" fmla="*/ 1 w 91"/>
                <a:gd name="T39" fmla="*/ 11 h 105"/>
                <a:gd name="T40" fmla="*/ 0 w 91"/>
                <a:gd name="T41" fmla="*/ 15 h 105"/>
                <a:gd name="T42" fmla="*/ 0 w 91"/>
                <a:gd name="T43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0" y="90"/>
                  </a:moveTo>
                  <a:lnTo>
                    <a:pt x="1" y="93"/>
                  </a:lnTo>
                  <a:lnTo>
                    <a:pt x="1" y="95"/>
                  </a:lnTo>
                  <a:lnTo>
                    <a:pt x="3" y="98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9" y="104"/>
                  </a:lnTo>
                  <a:lnTo>
                    <a:pt x="13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1" y="105"/>
                  </a:lnTo>
                  <a:lnTo>
                    <a:pt x="91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76">
              <a:extLst>
                <a:ext uri="{FF2B5EF4-FFF2-40B4-BE49-F238E27FC236}">
                  <a16:creationId xmlns:a16="http://schemas.microsoft.com/office/drawing/2014/main" id="{039CAFF9-6382-4BFC-B985-ABD9A114E3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1408113"/>
              <a:ext cx="47625" cy="33338"/>
            </a:xfrm>
            <a:custGeom>
              <a:avLst/>
              <a:gdLst>
                <a:gd name="T0" fmla="*/ 0 w 150"/>
                <a:gd name="T1" fmla="*/ 105 h 105"/>
                <a:gd name="T2" fmla="*/ 105 w 150"/>
                <a:gd name="T3" fmla="*/ 105 h 105"/>
                <a:gd name="T4" fmla="*/ 150 w 150"/>
                <a:gd name="T5" fmla="*/ 105 h 105"/>
                <a:gd name="T6" fmla="*/ 150 w 150"/>
                <a:gd name="T7" fmla="*/ 0 h 105"/>
                <a:gd name="T8" fmla="*/ 75 w 150"/>
                <a:gd name="T9" fmla="*/ 0 h 105"/>
                <a:gd name="T10" fmla="*/ 0 w 150"/>
                <a:gd name="T11" fmla="*/ 0 h 105"/>
                <a:gd name="T12" fmla="*/ 0 w 150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0" y="105"/>
                  </a:move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78">
              <a:extLst>
                <a:ext uri="{FF2B5EF4-FFF2-40B4-BE49-F238E27FC236}">
                  <a16:creationId xmlns:a16="http://schemas.microsoft.com/office/drawing/2014/main" id="{0AC1B0C2-6F56-4073-9C1C-C374FD840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763" y="1408113"/>
              <a:ext cx="28575" cy="33338"/>
            </a:xfrm>
            <a:custGeom>
              <a:avLst/>
              <a:gdLst>
                <a:gd name="T0" fmla="*/ 0 w 90"/>
                <a:gd name="T1" fmla="*/ 105 h 105"/>
                <a:gd name="T2" fmla="*/ 75 w 90"/>
                <a:gd name="T3" fmla="*/ 105 h 105"/>
                <a:gd name="T4" fmla="*/ 78 w 90"/>
                <a:gd name="T5" fmla="*/ 105 h 105"/>
                <a:gd name="T6" fmla="*/ 82 w 90"/>
                <a:gd name="T7" fmla="*/ 104 h 105"/>
                <a:gd name="T8" fmla="*/ 84 w 90"/>
                <a:gd name="T9" fmla="*/ 103 h 105"/>
                <a:gd name="T10" fmla="*/ 86 w 90"/>
                <a:gd name="T11" fmla="*/ 101 h 105"/>
                <a:gd name="T12" fmla="*/ 88 w 90"/>
                <a:gd name="T13" fmla="*/ 98 h 105"/>
                <a:gd name="T14" fmla="*/ 89 w 90"/>
                <a:gd name="T15" fmla="*/ 95 h 105"/>
                <a:gd name="T16" fmla="*/ 90 w 90"/>
                <a:gd name="T17" fmla="*/ 93 h 105"/>
                <a:gd name="T18" fmla="*/ 90 w 90"/>
                <a:gd name="T19" fmla="*/ 90 h 105"/>
                <a:gd name="T20" fmla="*/ 90 w 90"/>
                <a:gd name="T21" fmla="*/ 15 h 105"/>
                <a:gd name="T22" fmla="*/ 90 w 90"/>
                <a:gd name="T23" fmla="*/ 11 h 105"/>
                <a:gd name="T24" fmla="*/ 89 w 90"/>
                <a:gd name="T25" fmla="*/ 8 h 105"/>
                <a:gd name="T26" fmla="*/ 88 w 90"/>
                <a:gd name="T27" fmla="*/ 6 h 105"/>
                <a:gd name="T28" fmla="*/ 86 w 90"/>
                <a:gd name="T29" fmla="*/ 4 h 105"/>
                <a:gd name="T30" fmla="*/ 84 w 90"/>
                <a:gd name="T31" fmla="*/ 2 h 105"/>
                <a:gd name="T32" fmla="*/ 82 w 90"/>
                <a:gd name="T33" fmla="*/ 1 h 105"/>
                <a:gd name="T34" fmla="*/ 78 w 90"/>
                <a:gd name="T35" fmla="*/ 0 h 105"/>
                <a:gd name="T36" fmla="*/ 75 w 90"/>
                <a:gd name="T37" fmla="*/ 0 h 105"/>
                <a:gd name="T38" fmla="*/ 0 w 90"/>
                <a:gd name="T39" fmla="*/ 0 h 105"/>
                <a:gd name="T40" fmla="*/ 0 w 90"/>
                <a:gd name="T4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05"/>
                  </a:moveTo>
                  <a:lnTo>
                    <a:pt x="75" y="105"/>
                  </a:lnTo>
                  <a:lnTo>
                    <a:pt x="78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8"/>
                  </a:lnTo>
                  <a:lnTo>
                    <a:pt x="89" y="95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79">
              <a:extLst>
                <a:ext uri="{FF2B5EF4-FFF2-40B4-BE49-F238E27FC236}">
                  <a16:creationId xmlns:a16="http://schemas.microsoft.com/office/drawing/2014/main" id="{B738BB17-4A0F-4598-9A16-D2BE1A83B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560513"/>
              <a:ext cx="28575" cy="33338"/>
            </a:xfrm>
            <a:custGeom>
              <a:avLst/>
              <a:gdLst>
                <a:gd name="T0" fmla="*/ 90 w 90"/>
                <a:gd name="T1" fmla="*/ 90 h 105"/>
                <a:gd name="T2" fmla="*/ 90 w 90"/>
                <a:gd name="T3" fmla="*/ 15 h 105"/>
                <a:gd name="T4" fmla="*/ 90 w 90"/>
                <a:gd name="T5" fmla="*/ 12 h 105"/>
                <a:gd name="T6" fmla="*/ 89 w 90"/>
                <a:gd name="T7" fmla="*/ 9 h 105"/>
                <a:gd name="T8" fmla="*/ 88 w 90"/>
                <a:gd name="T9" fmla="*/ 7 h 105"/>
                <a:gd name="T10" fmla="*/ 86 w 90"/>
                <a:gd name="T11" fmla="*/ 5 h 105"/>
                <a:gd name="T12" fmla="*/ 84 w 90"/>
                <a:gd name="T13" fmla="*/ 2 h 105"/>
                <a:gd name="T14" fmla="*/ 80 w 90"/>
                <a:gd name="T15" fmla="*/ 1 h 105"/>
                <a:gd name="T16" fmla="*/ 78 w 90"/>
                <a:gd name="T17" fmla="*/ 0 h 105"/>
                <a:gd name="T18" fmla="*/ 75 w 90"/>
                <a:gd name="T19" fmla="*/ 0 h 105"/>
                <a:gd name="T20" fmla="*/ 15 w 90"/>
                <a:gd name="T21" fmla="*/ 0 h 105"/>
                <a:gd name="T22" fmla="*/ 0 w 90"/>
                <a:gd name="T23" fmla="*/ 0 h 105"/>
                <a:gd name="T24" fmla="*/ 0 w 90"/>
                <a:gd name="T25" fmla="*/ 105 h 105"/>
                <a:gd name="T26" fmla="*/ 15 w 90"/>
                <a:gd name="T27" fmla="*/ 105 h 105"/>
                <a:gd name="T28" fmla="*/ 75 w 90"/>
                <a:gd name="T29" fmla="*/ 105 h 105"/>
                <a:gd name="T30" fmla="*/ 78 w 90"/>
                <a:gd name="T31" fmla="*/ 105 h 105"/>
                <a:gd name="T32" fmla="*/ 80 w 90"/>
                <a:gd name="T33" fmla="*/ 104 h 105"/>
                <a:gd name="T34" fmla="*/ 84 w 90"/>
                <a:gd name="T35" fmla="*/ 103 h 105"/>
                <a:gd name="T36" fmla="*/ 86 w 90"/>
                <a:gd name="T37" fmla="*/ 101 h 105"/>
                <a:gd name="T38" fmla="*/ 88 w 90"/>
                <a:gd name="T39" fmla="*/ 99 h 105"/>
                <a:gd name="T40" fmla="*/ 89 w 90"/>
                <a:gd name="T41" fmla="*/ 97 h 105"/>
                <a:gd name="T42" fmla="*/ 90 w 90"/>
                <a:gd name="T43" fmla="*/ 94 h 105"/>
                <a:gd name="T44" fmla="*/ 90 w 90"/>
                <a:gd name="T45" fmla="*/ 90 h 105"/>
                <a:gd name="T46" fmla="*/ 90 w 90"/>
                <a:gd name="T4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0" h="105">
                  <a:moveTo>
                    <a:pt x="90" y="90"/>
                  </a:move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80">
              <a:extLst>
                <a:ext uri="{FF2B5EF4-FFF2-40B4-BE49-F238E27FC236}">
                  <a16:creationId xmlns:a16="http://schemas.microsoft.com/office/drawing/2014/main" id="{9DFA71B1-0C2B-41F3-8F1A-43ADD91C7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5605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15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5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481">
              <a:extLst>
                <a:ext uri="{FF2B5EF4-FFF2-40B4-BE49-F238E27FC236}">
                  <a16:creationId xmlns:a16="http://schemas.microsoft.com/office/drawing/2014/main" id="{F122CB63-6FBF-4128-9079-781256130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5 h 105"/>
                <a:gd name="T12" fmla="*/ 2 w 90"/>
                <a:gd name="T13" fmla="*/ 7 h 105"/>
                <a:gd name="T14" fmla="*/ 1 w 90"/>
                <a:gd name="T15" fmla="*/ 10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4 h 105"/>
                <a:gd name="T24" fmla="*/ 1 w 90"/>
                <a:gd name="T25" fmla="*/ 97 h 105"/>
                <a:gd name="T26" fmla="*/ 2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482">
              <a:extLst>
                <a:ext uri="{FF2B5EF4-FFF2-40B4-BE49-F238E27FC236}">
                  <a16:creationId xmlns:a16="http://schemas.microsoft.com/office/drawing/2014/main" id="{4FF5C2E4-5449-4750-9FCB-1E5CE9B3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84313"/>
              <a:ext cx="49213" cy="33338"/>
            </a:xfrm>
            <a:custGeom>
              <a:avLst/>
              <a:gdLst>
                <a:gd name="T0" fmla="*/ 151 w 151"/>
                <a:gd name="T1" fmla="*/ 106 h 106"/>
                <a:gd name="T2" fmla="*/ 151 w 151"/>
                <a:gd name="T3" fmla="*/ 0 h 106"/>
                <a:gd name="T4" fmla="*/ 45 w 151"/>
                <a:gd name="T5" fmla="*/ 0 h 106"/>
                <a:gd name="T6" fmla="*/ 0 w 151"/>
                <a:gd name="T7" fmla="*/ 0 h 106"/>
                <a:gd name="T8" fmla="*/ 0 w 151"/>
                <a:gd name="T9" fmla="*/ 106 h 106"/>
                <a:gd name="T10" fmla="*/ 15 w 151"/>
                <a:gd name="T11" fmla="*/ 106 h 106"/>
                <a:gd name="T12" fmla="*/ 151 w 151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6">
                  <a:moveTo>
                    <a:pt x="151" y="106"/>
                  </a:move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151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483">
              <a:extLst>
                <a:ext uri="{FF2B5EF4-FFF2-40B4-BE49-F238E27FC236}">
                  <a16:creationId xmlns:a16="http://schemas.microsoft.com/office/drawing/2014/main" id="{9CBDEACB-87E1-42A1-A765-E3F103E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484313"/>
              <a:ext cx="28575" cy="33338"/>
            </a:xfrm>
            <a:custGeom>
              <a:avLst/>
              <a:gdLst>
                <a:gd name="T0" fmla="*/ 75 w 90"/>
                <a:gd name="T1" fmla="*/ 106 h 106"/>
                <a:gd name="T2" fmla="*/ 78 w 90"/>
                <a:gd name="T3" fmla="*/ 105 h 106"/>
                <a:gd name="T4" fmla="*/ 80 w 90"/>
                <a:gd name="T5" fmla="*/ 104 h 106"/>
                <a:gd name="T6" fmla="*/ 84 w 90"/>
                <a:gd name="T7" fmla="*/ 103 h 106"/>
                <a:gd name="T8" fmla="*/ 86 w 90"/>
                <a:gd name="T9" fmla="*/ 101 h 106"/>
                <a:gd name="T10" fmla="*/ 88 w 90"/>
                <a:gd name="T11" fmla="*/ 99 h 106"/>
                <a:gd name="T12" fmla="*/ 89 w 90"/>
                <a:gd name="T13" fmla="*/ 96 h 106"/>
                <a:gd name="T14" fmla="*/ 90 w 90"/>
                <a:gd name="T15" fmla="*/ 93 h 106"/>
                <a:gd name="T16" fmla="*/ 90 w 90"/>
                <a:gd name="T17" fmla="*/ 91 h 106"/>
                <a:gd name="T18" fmla="*/ 90 w 90"/>
                <a:gd name="T19" fmla="*/ 15 h 106"/>
                <a:gd name="T20" fmla="*/ 90 w 90"/>
                <a:gd name="T21" fmla="*/ 13 h 106"/>
                <a:gd name="T22" fmla="*/ 89 w 90"/>
                <a:gd name="T23" fmla="*/ 10 h 106"/>
                <a:gd name="T24" fmla="*/ 88 w 90"/>
                <a:gd name="T25" fmla="*/ 7 h 106"/>
                <a:gd name="T26" fmla="*/ 86 w 90"/>
                <a:gd name="T27" fmla="*/ 4 h 106"/>
                <a:gd name="T28" fmla="*/ 84 w 90"/>
                <a:gd name="T29" fmla="*/ 3 h 106"/>
                <a:gd name="T30" fmla="*/ 80 w 90"/>
                <a:gd name="T31" fmla="*/ 1 h 106"/>
                <a:gd name="T32" fmla="*/ 78 w 90"/>
                <a:gd name="T33" fmla="*/ 1 h 106"/>
                <a:gd name="T34" fmla="*/ 75 w 90"/>
                <a:gd name="T35" fmla="*/ 0 h 106"/>
                <a:gd name="T36" fmla="*/ 45 w 90"/>
                <a:gd name="T37" fmla="*/ 0 h 106"/>
                <a:gd name="T38" fmla="*/ 0 w 90"/>
                <a:gd name="T39" fmla="*/ 0 h 106"/>
                <a:gd name="T40" fmla="*/ 0 w 90"/>
                <a:gd name="T41" fmla="*/ 106 h 106"/>
                <a:gd name="T42" fmla="*/ 15 w 90"/>
                <a:gd name="T43" fmla="*/ 106 h 106"/>
                <a:gd name="T44" fmla="*/ 75 w 90"/>
                <a:gd name="T4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6">
                  <a:moveTo>
                    <a:pt x="75" y="106"/>
                  </a:move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7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84">
              <a:extLst>
                <a:ext uri="{FF2B5EF4-FFF2-40B4-BE49-F238E27FC236}">
                  <a16:creationId xmlns:a16="http://schemas.microsoft.com/office/drawing/2014/main" id="{5D185959-AC1E-4A9D-998B-E7DFDB36C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484313"/>
              <a:ext cx="28575" cy="33338"/>
            </a:xfrm>
            <a:custGeom>
              <a:avLst/>
              <a:gdLst>
                <a:gd name="T0" fmla="*/ 15 w 90"/>
                <a:gd name="T1" fmla="*/ 106 h 106"/>
                <a:gd name="T2" fmla="*/ 90 w 90"/>
                <a:gd name="T3" fmla="*/ 106 h 106"/>
                <a:gd name="T4" fmla="*/ 90 w 90"/>
                <a:gd name="T5" fmla="*/ 0 h 106"/>
                <a:gd name="T6" fmla="*/ 15 w 90"/>
                <a:gd name="T7" fmla="*/ 0 h 106"/>
                <a:gd name="T8" fmla="*/ 11 w 90"/>
                <a:gd name="T9" fmla="*/ 1 h 106"/>
                <a:gd name="T10" fmla="*/ 9 w 90"/>
                <a:gd name="T11" fmla="*/ 1 h 106"/>
                <a:gd name="T12" fmla="*/ 6 w 90"/>
                <a:gd name="T13" fmla="*/ 3 h 106"/>
                <a:gd name="T14" fmla="*/ 4 w 90"/>
                <a:gd name="T15" fmla="*/ 4 h 106"/>
                <a:gd name="T16" fmla="*/ 2 w 90"/>
                <a:gd name="T17" fmla="*/ 7 h 106"/>
                <a:gd name="T18" fmla="*/ 1 w 90"/>
                <a:gd name="T19" fmla="*/ 10 h 106"/>
                <a:gd name="T20" fmla="*/ 0 w 90"/>
                <a:gd name="T21" fmla="*/ 13 h 106"/>
                <a:gd name="T22" fmla="*/ 0 w 90"/>
                <a:gd name="T23" fmla="*/ 15 h 106"/>
                <a:gd name="T24" fmla="*/ 0 w 90"/>
                <a:gd name="T25" fmla="*/ 90 h 106"/>
                <a:gd name="T26" fmla="*/ 0 w 90"/>
                <a:gd name="T27" fmla="*/ 93 h 106"/>
                <a:gd name="T28" fmla="*/ 1 w 90"/>
                <a:gd name="T29" fmla="*/ 96 h 106"/>
                <a:gd name="T30" fmla="*/ 2 w 90"/>
                <a:gd name="T31" fmla="*/ 99 h 106"/>
                <a:gd name="T32" fmla="*/ 4 w 90"/>
                <a:gd name="T33" fmla="*/ 101 h 106"/>
                <a:gd name="T34" fmla="*/ 6 w 90"/>
                <a:gd name="T35" fmla="*/ 103 h 106"/>
                <a:gd name="T36" fmla="*/ 9 w 90"/>
                <a:gd name="T37" fmla="*/ 104 h 106"/>
                <a:gd name="T38" fmla="*/ 11 w 90"/>
                <a:gd name="T39" fmla="*/ 105 h 106"/>
                <a:gd name="T40" fmla="*/ 15 w 90"/>
                <a:gd name="T4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15" y="106"/>
                  </a:move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485">
              <a:extLst>
                <a:ext uri="{FF2B5EF4-FFF2-40B4-BE49-F238E27FC236}">
                  <a16:creationId xmlns:a16="http://schemas.microsoft.com/office/drawing/2014/main" id="{936119EB-51B0-44C4-B2E4-A60A27D7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68425"/>
              <a:ext cx="28575" cy="34925"/>
            </a:xfrm>
            <a:custGeom>
              <a:avLst/>
              <a:gdLst>
                <a:gd name="T0" fmla="*/ 90 w 90"/>
                <a:gd name="T1" fmla="*/ 92 h 107"/>
                <a:gd name="T2" fmla="*/ 90 w 90"/>
                <a:gd name="T3" fmla="*/ 15 h 107"/>
                <a:gd name="T4" fmla="*/ 90 w 90"/>
                <a:gd name="T5" fmla="*/ 13 h 107"/>
                <a:gd name="T6" fmla="*/ 89 w 90"/>
                <a:gd name="T7" fmla="*/ 10 h 107"/>
                <a:gd name="T8" fmla="*/ 88 w 90"/>
                <a:gd name="T9" fmla="*/ 8 h 107"/>
                <a:gd name="T10" fmla="*/ 86 w 90"/>
                <a:gd name="T11" fmla="*/ 6 h 107"/>
                <a:gd name="T12" fmla="*/ 84 w 90"/>
                <a:gd name="T13" fmla="*/ 4 h 107"/>
                <a:gd name="T14" fmla="*/ 80 w 90"/>
                <a:gd name="T15" fmla="*/ 3 h 107"/>
                <a:gd name="T16" fmla="*/ 78 w 90"/>
                <a:gd name="T17" fmla="*/ 2 h 107"/>
                <a:gd name="T18" fmla="*/ 75 w 90"/>
                <a:gd name="T19" fmla="*/ 2 h 107"/>
                <a:gd name="T20" fmla="*/ 0 w 90"/>
                <a:gd name="T21" fmla="*/ 0 h 107"/>
                <a:gd name="T22" fmla="*/ 0 w 90"/>
                <a:gd name="T23" fmla="*/ 107 h 107"/>
                <a:gd name="T24" fmla="*/ 75 w 90"/>
                <a:gd name="T25" fmla="*/ 107 h 107"/>
                <a:gd name="T26" fmla="*/ 78 w 90"/>
                <a:gd name="T27" fmla="*/ 106 h 107"/>
                <a:gd name="T28" fmla="*/ 80 w 90"/>
                <a:gd name="T29" fmla="*/ 106 h 107"/>
                <a:gd name="T30" fmla="*/ 84 w 90"/>
                <a:gd name="T31" fmla="*/ 103 h 107"/>
                <a:gd name="T32" fmla="*/ 86 w 90"/>
                <a:gd name="T33" fmla="*/ 102 h 107"/>
                <a:gd name="T34" fmla="*/ 88 w 90"/>
                <a:gd name="T35" fmla="*/ 100 h 107"/>
                <a:gd name="T36" fmla="*/ 89 w 90"/>
                <a:gd name="T37" fmla="*/ 97 h 107"/>
                <a:gd name="T38" fmla="*/ 90 w 90"/>
                <a:gd name="T39" fmla="*/ 95 h 107"/>
                <a:gd name="T40" fmla="*/ 90 w 90"/>
                <a:gd name="T41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90" y="92"/>
                  </a:move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4" y="4"/>
                  </a:lnTo>
                  <a:lnTo>
                    <a:pt x="80" y="3"/>
                  </a:lnTo>
                  <a:lnTo>
                    <a:pt x="78" y="2"/>
                  </a:lnTo>
                  <a:lnTo>
                    <a:pt x="75" y="2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5" y="107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486">
              <a:extLst>
                <a:ext uri="{FF2B5EF4-FFF2-40B4-BE49-F238E27FC236}">
                  <a16:creationId xmlns:a16="http://schemas.microsoft.com/office/drawing/2014/main" id="{DD695991-A91D-4080-9FDE-A1EBB9486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368425"/>
              <a:ext cx="28575" cy="34925"/>
            </a:xfrm>
            <a:custGeom>
              <a:avLst/>
              <a:gdLst>
                <a:gd name="T0" fmla="*/ 15 w 90"/>
                <a:gd name="T1" fmla="*/ 107 h 107"/>
                <a:gd name="T2" fmla="*/ 90 w 90"/>
                <a:gd name="T3" fmla="*/ 107 h 107"/>
                <a:gd name="T4" fmla="*/ 90 w 90"/>
                <a:gd name="T5" fmla="*/ 0 h 107"/>
                <a:gd name="T6" fmla="*/ 15 w 90"/>
                <a:gd name="T7" fmla="*/ 0 h 107"/>
                <a:gd name="T8" fmla="*/ 11 w 90"/>
                <a:gd name="T9" fmla="*/ 2 h 107"/>
                <a:gd name="T10" fmla="*/ 9 w 90"/>
                <a:gd name="T11" fmla="*/ 3 h 107"/>
                <a:gd name="T12" fmla="*/ 6 w 90"/>
                <a:gd name="T13" fmla="*/ 4 h 107"/>
                <a:gd name="T14" fmla="*/ 4 w 90"/>
                <a:gd name="T15" fmla="*/ 6 h 107"/>
                <a:gd name="T16" fmla="*/ 3 w 90"/>
                <a:gd name="T17" fmla="*/ 8 h 107"/>
                <a:gd name="T18" fmla="*/ 1 w 90"/>
                <a:gd name="T19" fmla="*/ 10 h 107"/>
                <a:gd name="T20" fmla="*/ 0 w 90"/>
                <a:gd name="T21" fmla="*/ 13 h 107"/>
                <a:gd name="T22" fmla="*/ 0 w 90"/>
                <a:gd name="T23" fmla="*/ 17 h 107"/>
                <a:gd name="T24" fmla="*/ 0 w 90"/>
                <a:gd name="T25" fmla="*/ 92 h 107"/>
                <a:gd name="T26" fmla="*/ 0 w 90"/>
                <a:gd name="T27" fmla="*/ 95 h 107"/>
                <a:gd name="T28" fmla="*/ 1 w 90"/>
                <a:gd name="T29" fmla="*/ 97 h 107"/>
                <a:gd name="T30" fmla="*/ 3 w 90"/>
                <a:gd name="T31" fmla="*/ 100 h 107"/>
                <a:gd name="T32" fmla="*/ 4 w 90"/>
                <a:gd name="T33" fmla="*/ 102 h 107"/>
                <a:gd name="T34" fmla="*/ 6 w 90"/>
                <a:gd name="T35" fmla="*/ 103 h 107"/>
                <a:gd name="T36" fmla="*/ 9 w 90"/>
                <a:gd name="T37" fmla="*/ 106 h 107"/>
                <a:gd name="T38" fmla="*/ 11 w 90"/>
                <a:gd name="T39" fmla="*/ 106 h 107"/>
                <a:gd name="T40" fmla="*/ 15 w 90"/>
                <a:gd name="T4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15" y="107"/>
                  </a:moveTo>
                  <a:lnTo>
                    <a:pt x="90" y="107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9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1" y="97"/>
                  </a:lnTo>
                  <a:lnTo>
                    <a:pt x="3" y="100"/>
                  </a:lnTo>
                  <a:lnTo>
                    <a:pt x="4" y="102"/>
                  </a:lnTo>
                  <a:lnTo>
                    <a:pt x="6" y="103"/>
                  </a:lnTo>
                  <a:lnTo>
                    <a:pt x="9" y="106"/>
                  </a:lnTo>
                  <a:lnTo>
                    <a:pt x="11" y="106"/>
                  </a:lnTo>
                  <a:lnTo>
                    <a:pt x="1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87">
              <a:extLst>
                <a:ext uri="{FF2B5EF4-FFF2-40B4-BE49-F238E27FC236}">
                  <a16:creationId xmlns:a16="http://schemas.microsoft.com/office/drawing/2014/main" id="{E4BC5124-1095-402D-8774-53066FF6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368425"/>
              <a:ext cx="49213" cy="34925"/>
            </a:xfrm>
            <a:custGeom>
              <a:avLst/>
              <a:gdLst>
                <a:gd name="T0" fmla="*/ 151 w 151"/>
                <a:gd name="T1" fmla="*/ 107 h 107"/>
                <a:gd name="T2" fmla="*/ 151 w 151"/>
                <a:gd name="T3" fmla="*/ 0 h 107"/>
                <a:gd name="T4" fmla="*/ 0 w 151"/>
                <a:gd name="T5" fmla="*/ 0 h 107"/>
                <a:gd name="T6" fmla="*/ 0 w 151"/>
                <a:gd name="T7" fmla="*/ 107 h 107"/>
                <a:gd name="T8" fmla="*/ 76 w 151"/>
                <a:gd name="T9" fmla="*/ 107 h 107"/>
                <a:gd name="T10" fmla="*/ 151 w 151"/>
                <a:gd name="T1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7">
                  <a:moveTo>
                    <a:pt x="151" y="107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6" y="107"/>
                  </a:lnTo>
                  <a:lnTo>
                    <a:pt x="15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88">
              <a:extLst>
                <a:ext uri="{FF2B5EF4-FFF2-40B4-BE49-F238E27FC236}">
                  <a16:creationId xmlns:a16="http://schemas.microsoft.com/office/drawing/2014/main" id="{D39514AF-0117-4E60-9098-399F2CE1B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98613"/>
              <a:ext cx="28575" cy="33338"/>
            </a:xfrm>
            <a:custGeom>
              <a:avLst/>
              <a:gdLst>
                <a:gd name="T0" fmla="*/ 75 w 91"/>
                <a:gd name="T1" fmla="*/ 0 h 106"/>
                <a:gd name="T2" fmla="*/ 45 w 91"/>
                <a:gd name="T3" fmla="*/ 0 h 106"/>
                <a:gd name="T4" fmla="*/ 0 w 91"/>
                <a:gd name="T5" fmla="*/ 0 h 106"/>
                <a:gd name="T6" fmla="*/ 0 w 91"/>
                <a:gd name="T7" fmla="*/ 106 h 106"/>
                <a:gd name="T8" fmla="*/ 75 w 91"/>
                <a:gd name="T9" fmla="*/ 106 h 106"/>
                <a:gd name="T10" fmla="*/ 79 w 91"/>
                <a:gd name="T11" fmla="*/ 106 h 106"/>
                <a:gd name="T12" fmla="*/ 81 w 91"/>
                <a:gd name="T13" fmla="*/ 104 h 106"/>
                <a:gd name="T14" fmla="*/ 84 w 91"/>
                <a:gd name="T15" fmla="*/ 103 h 106"/>
                <a:gd name="T16" fmla="*/ 86 w 91"/>
                <a:gd name="T17" fmla="*/ 101 h 106"/>
                <a:gd name="T18" fmla="*/ 88 w 91"/>
                <a:gd name="T19" fmla="*/ 99 h 106"/>
                <a:gd name="T20" fmla="*/ 89 w 91"/>
                <a:gd name="T21" fmla="*/ 97 h 106"/>
                <a:gd name="T22" fmla="*/ 91 w 91"/>
                <a:gd name="T23" fmla="*/ 94 h 106"/>
                <a:gd name="T24" fmla="*/ 91 w 91"/>
                <a:gd name="T25" fmla="*/ 91 h 106"/>
                <a:gd name="T26" fmla="*/ 91 w 91"/>
                <a:gd name="T27" fmla="*/ 15 h 106"/>
                <a:gd name="T28" fmla="*/ 91 w 91"/>
                <a:gd name="T29" fmla="*/ 12 h 106"/>
                <a:gd name="T30" fmla="*/ 89 w 91"/>
                <a:gd name="T31" fmla="*/ 10 h 106"/>
                <a:gd name="T32" fmla="*/ 88 w 91"/>
                <a:gd name="T33" fmla="*/ 7 h 106"/>
                <a:gd name="T34" fmla="*/ 86 w 91"/>
                <a:gd name="T35" fmla="*/ 5 h 106"/>
                <a:gd name="T36" fmla="*/ 84 w 91"/>
                <a:gd name="T37" fmla="*/ 4 h 106"/>
                <a:gd name="T38" fmla="*/ 81 w 91"/>
                <a:gd name="T39" fmla="*/ 2 h 106"/>
                <a:gd name="T40" fmla="*/ 79 w 91"/>
                <a:gd name="T41" fmla="*/ 2 h 106"/>
                <a:gd name="T42" fmla="*/ 75 w 91"/>
                <a:gd name="T43" fmla="*/ 0 h 106"/>
                <a:gd name="T44" fmla="*/ 75 w 91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1" h="106">
                  <a:moveTo>
                    <a:pt x="75" y="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9" y="106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1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489">
              <a:extLst>
                <a:ext uri="{FF2B5EF4-FFF2-40B4-BE49-F238E27FC236}">
                  <a16:creationId xmlns:a16="http://schemas.microsoft.com/office/drawing/2014/main" id="{654695A1-46F4-4F9F-9BCD-019396980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98613"/>
              <a:ext cx="28575" cy="33338"/>
            </a:xfrm>
            <a:custGeom>
              <a:avLst/>
              <a:gdLst>
                <a:gd name="T0" fmla="*/ 0 w 90"/>
                <a:gd name="T1" fmla="*/ 15 h 106"/>
                <a:gd name="T2" fmla="*/ 0 w 90"/>
                <a:gd name="T3" fmla="*/ 91 h 106"/>
                <a:gd name="T4" fmla="*/ 0 w 90"/>
                <a:gd name="T5" fmla="*/ 94 h 106"/>
                <a:gd name="T6" fmla="*/ 1 w 90"/>
                <a:gd name="T7" fmla="*/ 97 h 106"/>
                <a:gd name="T8" fmla="*/ 3 w 90"/>
                <a:gd name="T9" fmla="*/ 99 h 106"/>
                <a:gd name="T10" fmla="*/ 4 w 90"/>
                <a:gd name="T11" fmla="*/ 101 h 106"/>
                <a:gd name="T12" fmla="*/ 6 w 90"/>
                <a:gd name="T13" fmla="*/ 103 h 106"/>
                <a:gd name="T14" fmla="*/ 10 w 90"/>
                <a:gd name="T15" fmla="*/ 104 h 106"/>
                <a:gd name="T16" fmla="*/ 12 w 90"/>
                <a:gd name="T17" fmla="*/ 106 h 106"/>
                <a:gd name="T18" fmla="*/ 15 w 90"/>
                <a:gd name="T19" fmla="*/ 106 h 106"/>
                <a:gd name="T20" fmla="*/ 90 w 90"/>
                <a:gd name="T21" fmla="*/ 106 h 106"/>
                <a:gd name="T22" fmla="*/ 90 w 90"/>
                <a:gd name="T23" fmla="*/ 0 h 106"/>
                <a:gd name="T24" fmla="*/ 15 w 90"/>
                <a:gd name="T25" fmla="*/ 0 h 106"/>
                <a:gd name="T26" fmla="*/ 12 w 90"/>
                <a:gd name="T27" fmla="*/ 0 h 106"/>
                <a:gd name="T28" fmla="*/ 10 w 90"/>
                <a:gd name="T29" fmla="*/ 2 h 106"/>
                <a:gd name="T30" fmla="*/ 6 w 90"/>
                <a:gd name="T31" fmla="*/ 4 h 106"/>
                <a:gd name="T32" fmla="*/ 4 w 90"/>
                <a:gd name="T33" fmla="*/ 5 h 106"/>
                <a:gd name="T34" fmla="*/ 3 w 90"/>
                <a:gd name="T35" fmla="*/ 7 h 106"/>
                <a:gd name="T36" fmla="*/ 1 w 90"/>
                <a:gd name="T37" fmla="*/ 10 h 106"/>
                <a:gd name="T38" fmla="*/ 0 w 90"/>
                <a:gd name="T39" fmla="*/ 12 h 106"/>
                <a:gd name="T40" fmla="*/ 0 w 90"/>
                <a:gd name="T41" fmla="*/ 1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0" y="15"/>
                  </a:move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10" y="104"/>
                  </a:lnTo>
                  <a:lnTo>
                    <a:pt x="12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490">
              <a:extLst>
                <a:ext uri="{FF2B5EF4-FFF2-40B4-BE49-F238E27FC236}">
                  <a16:creationId xmlns:a16="http://schemas.microsoft.com/office/drawing/2014/main" id="{FC0C2D5D-4C8E-4DD7-BD94-70CFD3ACC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98613"/>
              <a:ext cx="47625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45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491">
              <a:extLst>
                <a:ext uri="{FF2B5EF4-FFF2-40B4-BE49-F238E27FC236}">
                  <a16:creationId xmlns:a16="http://schemas.microsoft.com/office/drawing/2014/main" id="{EE33C767-6316-43F8-B93C-76581AAC1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1560513"/>
              <a:ext cx="47625" cy="33338"/>
            </a:xfrm>
            <a:custGeom>
              <a:avLst/>
              <a:gdLst>
                <a:gd name="T0" fmla="*/ 150 w 150"/>
                <a:gd name="T1" fmla="*/ 0 h 105"/>
                <a:gd name="T2" fmla="*/ 105 w 150"/>
                <a:gd name="T3" fmla="*/ 0 h 105"/>
                <a:gd name="T4" fmla="*/ 0 w 150"/>
                <a:gd name="T5" fmla="*/ 0 h 105"/>
                <a:gd name="T6" fmla="*/ 0 w 150"/>
                <a:gd name="T7" fmla="*/ 105 h 105"/>
                <a:gd name="T8" fmla="*/ 105 w 150"/>
                <a:gd name="T9" fmla="*/ 105 h 105"/>
                <a:gd name="T10" fmla="*/ 150 w 150"/>
                <a:gd name="T11" fmla="*/ 105 h 105"/>
                <a:gd name="T12" fmla="*/ 150 w 150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150" y="0"/>
                  </a:moveTo>
                  <a:lnTo>
                    <a:pt x="10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492">
              <a:extLst>
                <a:ext uri="{FF2B5EF4-FFF2-40B4-BE49-F238E27FC236}">
                  <a16:creationId xmlns:a16="http://schemas.microsoft.com/office/drawing/2014/main" id="{FBFD7D2B-8800-4A9B-B9B4-D5E069615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45 w 90"/>
                <a:gd name="T3" fmla="*/ 0 h 105"/>
                <a:gd name="T4" fmla="*/ 15 w 90"/>
                <a:gd name="T5" fmla="*/ 0 h 105"/>
                <a:gd name="T6" fmla="*/ 12 w 90"/>
                <a:gd name="T7" fmla="*/ 0 h 105"/>
                <a:gd name="T8" fmla="*/ 10 w 90"/>
                <a:gd name="T9" fmla="*/ 1 h 105"/>
                <a:gd name="T10" fmla="*/ 7 w 90"/>
                <a:gd name="T11" fmla="*/ 2 h 105"/>
                <a:gd name="T12" fmla="*/ 4 w 90"/>
                <a:gd name="T13" fmla="*/ 5 h 105"/>
                <a:gd name="T14" fmla="*/ 3 w 90"/>
                <a:gd name="T15" fmla="*/ 7 h 105"/>
                <a:gd name="T16" fmla="*/ 1 w 90"/>
                <a:gd name="T17" fmla="*/ 10 h 105"/>
                <a:gd name="T18" fmla="*/ 1 w 90"/>
                <a:gd name="T19" fmla="*/ 12 h 105"/>
                <a:gd name="T20" fmla="*/ 0 w 90"/>
                <a:gd name="T21" fmla="*/ 15 h 105"/>
                <a:gd name="T22" fmla="*/ 0 w 90"/>
                <a:gd name="T23" fmla="*/ 90 h 105"/>
                <a:gd name="T24" fmla="*/ 1 w 90"/>
                <a:gd name="T25" fmla="*/ 94 h 105"/>
                <a:gd name="T26" fmla="*/ 1 w 90"/>
                <a:gd name="T27" fmla="*/ 97 h 105"/>
                <a:gd name="T28" fmla="*/ 3 w 90"/>
                <a:gd name="T29" fmla="*/ 99 h 105"/>
                <a:gd name="T30" fmla="*/ 4 w 90"/>
                <a:gd name="T31" fmla="*/ 101 h 105"/>
                <a:gd name="T32" fmla="*/ 7 w 90"/>
                <a:gd name="T33" fmla="*/ 103 h 105"/>
                <a:gd name="T34" fmla="*/ 10 w 90"/>
                <a:gd name="T35" fmla="*/ 104 h 105"/>
                <a:gd name="T36" fmla="*/ 12 w 90"/>
                <a:gd name="T37" fmla="*/ 105 h 105"/>
                <a:gd name="T38" fmla="*/ 15 w 90"/>
                <a:gd name="T39" fmla="*/ 105 h 105"/>
                <a:gd name="T40" fmla="*/ 45 w 90"/>
                <a:gd name="T41" fmla="*/ 105 h 105"/>
                <a:gd name="T42" fmla="*/ 90 w 90"/>
                <a:gd name="T43" fmla="*/ 105 h 105"/>
                <a:gd name="T44" fmla="*/ 90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1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493">
              <a:extLst>
                <a:ext uri="{FF2B5EF4-FFF2-40B4-BE49-F238E27FC236}">
                  <a16:creationId xmlns:a16="http://schemas.microsoft.com/office/drawing/2014/main" id="{D71F20BB-9934-4B9F-8475-499E173C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560513"/>
              <a:ext cx="28575" cy="33338"/>
            </a:xfrm>
            <a:custGeom>
              <a:avLst/>
              <a:gdLst>
                <a:gd name="T0" fmla="*/ 76 w 91"/>
                <a:gd name="T1" fmla="*/ 0 h 105"/>
                <a:gd name="T2" fmla="*/ 0 w 91"/>
                <a:gd name="T3" fmla="*/ 0 h 105"/>
                <a:gd name="T4" fmla="*/ 0 w 91"/>
                <a:gd name="T5" fmla="*/ 105 h 105"/>
                <a:gd name="T6" fmla="*/ 76 w 91"/>
                <a:gd name="T7" fmla="*/ 105 h 105"/>
                <a:gd name="T8" fmla="*/ 79 w 91"/>
                <a:gd name="T9" fmla="*/ 105 h 105"/>
                <a:gd name="T10" fmla="*/ 82 w 91"/>
                <a:gd name="T11" fmla="*/ 104 h 105"/>
                <a:gd name="T12" fmla="*/ 84 w 91"/>
                <a:gd name="T13" fmla="*/ 103 h 105"/>
                <a:gd name="T14" fmla="*/ 86 w 91"/>
                <a:gd name="T15" fmla="*/ 101 h 105"/>
                <a:gd name="T16" fmla="*/ 88 w 91"/>
                <a:gd name="T17" fmla="*/ 99 h 105"/>
                <a:gd name="T18" fmla="*/ 89 w 91"/>
                <a:gd name="T19" fmla="*/ 97 h 105"/>
                <a:gd name="T20" fmla="*/ 91 w 91"/>
                <a:gd name="T21" fmla="*/ 94 h 105"/>
                <a:gd name="T22" fmla="*/ 91 w 91"/>
                <a:gd name="T23" fmla="*/ 90 h 105"/>
                <a:gd name="T24" fmla="*/ 91 w 91"/>
                <a:gd name="T25" fmla="*/ 15 h 105"/>
                <a:gd name="T26" fmla="*/ 91 w 91"/>
                <a:gd name="T27" fmla="*/ 12 h 105"/>
                <a:gd name="T28" fmla="*/ 89 w 91"/>
                <a:gd name="T29" fmla="*/ 9 h 105"/>
                <a:gd name="T30" fmla="*/ 88 w 91"/>
                <a:gd name="T31" fmla="*/ 7 h 105"/>
                <a:gd name="T32" fmla="*/ 86 w 91"/>
                <a:gd name="T33" fmla="*/ 5 h 105"/>
                <a:gd name="T34" fmla="*/ 84 w 91"/>
                <a:gd name="T35" fmla="*/ 2 h 105"/>
                <a:gd name="T36" fmla="*/ 82 w 91"/>
                <a:gd name="T37" fmla="*/ 1 h 105"/>
                <a:gd name="T38" fmla="*/ 79 w 91"/>
                <a:gd name="T39" fmla="*/ 0 h 105"/>
                <a:gd name="T40" fmla="*/ 76 w 91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105">
                  <a:moveTo>
                    <a:pt x="76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6" y="105"/>
                  </a:lnTo>
                  <a:lnTo>
                    <a:pt x="79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9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494">
              <a:extLst>
                <a:ext uri="{FF2B5EF4-FFF2-40B4-BE49-F238E27FC236}">
                  <a16:creationId xmlns:a16="http://schemas.microsoft.com/office/drawing/2014/main" id="{61F3CB7D-65AA-4C9C-9A22-30574D3FE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22413"/>
              <a:ext cx="28575" cy="33338"/>
            </a:xfrm>
            <a:custGeom>
              <a:avLst/>
              <a:gdLst>
                <a:gd name="T0" fmla="*/ 75 w 91"/>
                <a:gd name="T1" fmla="*/ 105 h 105"/>
                <a:gd name="T2" fmla="*/ 79 w 91"/>
                <a:gd name="T3" fmla="*/ 105 h 105"/>
                <a:gd name="T4" fmla="*/ 81 w 91"/>
                <a:gd name="T5" fmla="*/ 104 h 105"/>
                <a:gd name="T6" fmla="*/ 84 w 91"/>
                <a:gd name="T7" fmla="*/ 102 h 105"/>
                <a:gd name="T8" fmla="*/ 86 w 91"/>
                <a:gd name="T9" fmla="*/ 101 h 105"/>
                <a:gd name="T10" fmla="*/ 88 w 91"/>
                <a:gd name="T11" fmla="*/ 99 h 105"/>
                <a:gd name="T12" fmla="*/ 89 w 91"/>
                <a:gd name="T13" fmla="*/ 96 h 105"/>
                <a:gd name="T14" fmla="*/ 91 w 91"/>
                <a:gd name="T15" fmla="*/ 93 h 105"/>
                <a:gd name="T16" fmla="*/ 91 w 91"/>
                <a:gd name="T17" fmla="*/ 90 h 105"/>
                <a:gd name="T18" fmla="*/ 91 w 91"/>
                <a:gd name="T19" fmla="*/ 15 h 105"/>
                <a:gd name="T20" fmla="*/ 91 w 91"/>
                <a:gd name="T21" fmla="*/ 12 h 105"/>
                <a:gd name="T22" fmla="*/ 89 w 91"/>
                <a:gd name="T23" fmla="*/ 9 h 105"/>
                <a:gd name="T24" fmla="*/ 88 w 91"/>
                <a:gd name="T25" fmla="*/ 7 h 105"/>
                <a:gd name="T26" fmla="*/ 86 w 91"/>
                <a:gd name="T27" fmla="*/ 4 h 105"/>
                <a:gd name="T28" fmla="*/ 84 w 91"/>
                <a:gd name="T29" fmla="*/ 2 h 105"/>
                <a:gd name="T30" fmla="*/ 81 w 91"/>
                <a:gd name="T31" fmla="*/ 1 h 105"/>
                <a:gd name="T32" fmla="*/ 79 w 91"/>
                <a:gd name="T33" fmla="*/ 0 h 105"/>
                <a:gd name="T34" fmla="*/ 75 w 91"/>
                <a:gd name="T35" fmla="*/ 0 h 105"/>
                <a:gd name="T36" fmla="*/ 0 w 91"/>
                <a:gd name="T37" fmla="*/ 0 h 105"/>
                <a:gd name="T38" fmla="*/ 0 w 91"/>
                <a:gd name="T39" fmla="*/ 105 h 105"/>
                <a:gd name="T40" fmla="*/ 45 w 91"/>
                <a:gd name="T41" fmla="*/ 105 h 105"/>
                <a:gd name="T42" fmla="*/ 75 w 91"/>
                <a:gd name="T4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75" y="105"/>
                  </a:moveTo>
                  <a:lnTo>
                    <a:pt x="79" y="105"/>
                  </a:lnTo>
                  <a:lnTo>
                    <a:pt x="81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1" y="93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75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495">
              <a:extLst>
                <a:ext uri="{FF2B5EF4-FFF2-40B4-BE49-F238E27FC236}">
                  <a16:creationId xmlns:a16="http://schemas.microsoft.com/office/drawing/2014/main" id="{677CE296-0589-48F3-A45B-4DCA27A07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22413"/>
              <a:ext cx="47625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45 w 151"/>
                <a:gd name="T9" fmla="*/ 105 h 105"/>
                <a:gd name="T10" fmla="*/ 151 w 151"/>
                <a:gd name="T1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496">
              <a:extLst>
                <a:ext uri="{FF2B5EF4-FFF2-40B4-BE49-F238E27FC236}">
                  <a16:creationId xmlns:a16="http://schemas.microsoft.com/office/drawing/2014/main" id="{C76D2DEF-2609-470C-B4FB-3F9010620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22413"/>
              <a:ext cx="28575" cy="33338"/>
            </a:xfrm>
            <a:custGeom>
              <a:avLst/>
              <a:gdLst>
                <a:gd name="T0" fmla="*/ 0 w 90"/>
                <a:gd name="T1" fmla="*/ 15 h 105"/>
                <a:gd name="T2" fmla="*/ 0 w 90"/>
                <a:gd name="T3" fmla="*/ 90 h 105"/>
                <a:gd name="T4" fmla="*/ 0 w 90"/>
                <a:gd name="T5" fmla="*/ 93 h 105"/>
                <a:gd name="T6" fmla="*/ 1 w 90"/>
                <a:gd name="T7" fmla="*/ 96 h 105"/>
                <a:gd name="T8" fmla="*/ 3 w 90"/>
                <a:gd name="T9" fmla="*/ 99 h 105"/>
                <a:gd name="T10" fmla="*/ 4 w 90"/>
                <a:gd name="T11" fmla="*/ 101 h 105"/>
                <a:gd name="T12" fmla="*/ 6 w 90"/>
                <a:gd name="T13" fmla="*/ 102 h 105"/>
                <a:gd name="T14" fmla="*/ 10 w 90"/>
                <a:gd name="T15" fmla="*/ 104 h 105"/>
                <a:gd name="T16" fmla="*/ 12 w 90"/>
                <a:gd name="T17" fmla="*/ 105 h 105"/>
                <a:gd name="T18" fmla="*/ 15 w 90"/>
                <a:gd name="T19" fmla="*/ 105 h 105"/>
                <a:gd name="T20" fmla="*/ 90 w 90"/>
                <a:gd name="T21" fmla="*/ 105 h 105"/>
                <a:gd name="T22" fmla="*/ 90 w 90"/>
                <a:gd name="T23" fmla="*/ 0 h 105"/>
                <a:gd name="T24" fmla="*/ 15 w 90"/>
                <a:gd name="T25" fmla="*/ 0 h 105"/>
                <a:gd name="T26" fmla="*/ 12 w 90"/>
                <a:gd name="T27" fmla="*/ 0 h 105"/>
                <a:gd name="T28" fmla="*/ 10 w 90"/>
                <a:gd name="T29" fmla="*/ 1 h 105"/>
                <a:gd name="T30" fmla="*/ 6 w 90"/>
                <a:gd name="T31" fmla="*/ 2 h 105"/>
                <a:gd name="T32" fmla="*/ 4 w 90"/>
                <a:gd name="T33" fmla="*/ 4 h 105"/>
                <a:gd name="T34" fmla="*/ 3 w 90"/>
                <a:gd name="T35" fmla="*/ 7 h 105"/>
                <a:gd name="T36" fmla="*/ 1 w 90"/>
                <a:gd name="T37" fmla="*/ 9 h 105"/>
                <a:gd name="T38" fmla="*/ 0 w 90"/>
                <a:gd name="T39" fmla="*/ 12 h 105"/>
                <a:gd name="T40" fmla="*/ 0 w 90"/>
                <a:gd name="T4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5"/>
                  </a:move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B4DADF5D-D10D-4DAE-BA2F-AAB6EC9DAD5C}"/>
              </a:ext>
            </a:extLst>
          </p:cNvPr>
          <p:cNvGrpSpPr/>
          <p:nvPr/>
        </p:nvGrpSpPr>
        <p:grpSpPr>
          <a:xfrm>
            <a:off x="8568309" y="1538304"/>
            <a:ext cx="196255" cy="194086"/>
            <a:chOff x="2598738" y="1919288"/>
            <a:chExt cx="287338" cy="284163"/>
          </a:xfrm>
          <a:solidFill>
            <a:schemeClr val="bg1"/>
          </a:solidFill>
        </p:grpSpPr>
        <p:sp>
          <p:nvSpPr>
            <p:cNvPr id="174" name="Freeform 505">
              <a:extLst>
                <a:ext uri="{FF2B5EF4-FFF2-40B4-BE49-F238E27FC236}">
                  <a16:creationId xmlns:a16="http://schemas.microsoft.com/office/drawing/2014/main" id="{50CB5A38-494C-48D6-84EE-6074ECAF0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8738" y="1982788"/>
              <a:ext cx="142875" cy="220663"/>
            </a:xfrm>
            <a:custGeom>
              <a:avLst/>
              <a:gdLst>
                <a:gd name="T0" fmla="*/ 121 w 452"/>
                <a:gd name="T1" fmla="*/ 172 h 695"/>
                <a:gd name="T2" fmla="*/ 122 w 452"/>
                <a:gd name="T3" fmla="*/ 169 h 695"/>
                <a:gd name="T4" fmla="*/ 123 w 452"/>
                <a:gd name="T5" fmla="*/ 166 h 695"/>
                <a:gd name="T6" fmla="*/ 125 w 452"/>
                <a:gd name="T7" fmla="*/ 163 h 695"/>
                <a:gd name="T8" fmla="*/ 127 w 452"/>
                <a:gd name="T9" fmla="*/ 160 h 695"/>
                <a:gd name="T10" fmla="*/ 131 w 452"/>
                <a:gd name="T11" fmla="*/ 158 h 695"/>
                <a:gd name="T12" fmla="*/ 134 w 452"/>
                <a:gd name="T13" fmla="*/ 157 h 695"/>
                <a:gd name="T14" fmla="*/ 138 w 452"/>
                <a:gd name="T15" fmla="*/ 158 h 695"/>
                <a:gd name="T16" fmla="*/ 142 w 452"/>
                <a:gd name="T17" fmla="*/ 159 h 695"/>
                <a:gd name="T18" fmla="*/ 352 w 452"/>
                <a:gd name="T19" fmla="*/ 250 h 695"/>
                <a:gd name="T20" fmla="*/ 357 w 452"/>
                <a:gd name="T21" fmla="*/ 252 h 695"/>
                <a:gd name="T22" fmla="*/ 359 w 452"/>
                <a:gd name="T23" fmla="*/ 255 h 695"/>
                <a:gd name="T24" fmla="*/ 361 w 452"/>
                <a:gd name="T25" fmla="*/ 259 h 695"/>
                <a:gd name="T26" fmla="*/ 362 w 452"/>
                <a:gd name="T27" fmla="*/ 263 h 695"/>
                <a:gd name="T28" fmla="*/ 362 w 452"/>
                <a:gd name="T29" fmla="*/ 459 h 695"/>
                <a:gd name="T30" fmla="*/ 361 w 452"/>
                <a:gd name="T31" fmla="*/ 463 h 695"/>
                <a:gd name="T32" fmla="*/ 360 w 452"/>
                <a:gd name="T33" fmla="*/ 466 h 695"/>
                <a:gd name="T34" fmla="*/ 358 w 452"/>
                <a:gd name="T35" fmla="*/ 469 h 695"/>
                <a:gd name="T36" fmla="*/ 354 w 452"/>
                <a:gd name="T37" fmla="*/ 472 h 695"/>
                <a:gd name="T38" fmla="*/ 351 w 452"/>
                <a:gd name="T39" fmla="*/ 474 h 695"/>
                <a:gd name="T40" fmla="*/ 347 w 452"/>
                <a:gd name="T41" fmla="*/ 474 h 695"/>
                <a:gd name="T42" fmla="*/ 344 w 452"/>
                <a:gd name="T43" fmla="*/ 474 h 695"/>
                <a:gd name="T44" fmla="*/ 340 w 452"/>
                <a:gd name="T45" fmla="*/ 473 h 695"/>
                <a:gd name="T46" fmla="*/ 130 w 452"/>
                <a:gd name="T47" fmla="*/ 383 h 695"/>
                <a:gd name="T48" fmla="*/ 126 w 452"/>
                <a:gd name="T49" fmla="*/ 380 h 695"/>
                <a:gd name="T50" fmla="*/ 123 w 452"/>
                <a:gd name="T51" fmla="*/ 377 h 695"/>
                <a:gd name="T52" fmla="*/ 122 w 452"/>
                <a:gd name="T53" fmla="*/ 373 h 695"/>
                <a:gd name="T54" fmla="*/ 121 w 452"/>
                <a:gd name="T55" fmla="*/ 369 h 695"/>
                <a:gd name="T56" fmla="*/ 121 w 452"/>
                <a:gd name="T57" fmla="*/ 172 h 695"/>
                <a:gd name="T58" fmla="*/ 0 w 452"/>
                <a:gd name="T59" fmla="*/ 474 h 695"/>
                <a:gd name="T60" fmla="*/ 0 w 452"/>
                <a:gd name="T61" fmla="*/ 478 h 695"/>
                <a:gd name="T62" fmla="*/ 3 w 452"/>
                <a:gd name="T63" fmla="*/ 482 h 695"/>
                <a:gd name="T64" fmla="*/ 6 w 452"/>
                <a:gd name="T65" fmla="*/ 485 h 695"/>
                <a:gd name="T66" fmla="*/ 9 w 452"/>
                <a:gd name="T67" fmla="*/ 488 h 695"/>
                <a:gd name="T68" fmla="*/ 452 w 452"/>
                <a:gd name="T69" fmla="*/ 695 h 695"/>
                <a:gd name="T70" fmla="*/ 452 w 452"/>
                <a:gd name="T71" fmla="*/ 685 h 695"/>
                <a:gd name="T72" fmla="*/ 452 w 452"/>
                <a:gd name="T73" fmla="*/ 661 h 695"/>
                <a:gd name="T74" fmla="*/ 452 w 452"/>
                <a:gd name="T75" fmla="*/ 198 h 695"/>
                <a:gd name="T76" fmla="*/ 452 w 452"/>
                <a:gd name="T77" fmla="*/ 198 h 695"/>
                <a:gd name="T78" fmla="*/ 0 w 452"/>
                <a:gd name="T79" fmla="*/ 0 h 695"/>
                <a:gd name="T80" fmla="*/ 0 w 452"/>
                <a:gd name="T81" fmla="*/ 474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2" h="695">
                  <a:moveTo>
                    <a:pt x="121" y="172"/>
                  </a:moveTo>
                  <a:lnTo>
                    <a:pt x="122" y="169"/>
                  </a:lnTo>
                  <a:lnTo>
                    <a:pt x="123" y="166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31" y="158"/>
                  </a:lnTo>
                  <a:lnTo>
                    <a:pt x="134" y="157"/>
                  </a:lnTo>
                  <a:lnTo>
                    <a:pt x="138" y="158"/>
                  </a:lnTo>
                  <a:lnTo>
                    <a:pt x="142" y="159"/>
                  </a:lnTo>
                  <a:lnTo>
                    <a:pt x="352" y="250"/>
                  </a:lnTo>
                  <a:lnTo>
                    <a:pt x="357" y="252"/>
                  </a:lnTo>
                  <a:lnTo>
                    <a:pt x="359" y="255"/>
                  </a:lnTo>
                  <a:lnTo>
                    <a:pt x="361" y="259"/>
                  </a:lnTo>
                  <a:lnTo>
                    <a:pt x="362" y="263"/>
                  </a:lnTo>
                  <a:lnTo>
                    <a:pt x="362" y="459"/>
                  </a:lnTo>
                  <a:lnTo>
                    <a:pt x="361" y="463"/>
                  </a:lnTo>
                  <a:lnTo>
                    <a:pt x="360" y="466"/>
                  </a:lnTo>
                  <a:lnTo>
                    <a:pt x="358" y="469"/>
                  </a:lnTo>
                  <a:lnTo>
                    <a:pt x="354" y="472"/>
                  </a:lnTo>
                  <a:lnTo>
                    <a:pt x="351" y="474"/>
                  </a:lnTo>
                  <a:lnTo>
                    <a:pt x="347" y="474"/>
                  </a:lnTo>
                  <a:lnTo>
                    <a:pt x="344" y="474"/>
                  </a:lnTo>
                  <a:lnTo>
                    <a:pt x="340" y="473"/>
                  </a:lnTo>
                  <a:lnTo>
                    <a:pt x="130" y="383"/>
                  </a:lnTo>
                  <a:lnTo>
                    <a:pt x="126" y="380"/>
                  </a:lnTo>
                  <a:lnTo>
                    <a:pt x="123" y="377"/>
                  </a:lnTo>
                  <a:lnTo>
                    <a:pt x="122" y="373"/>
                  </a:lnTo>
                  <a:lnTo>
                    <a:pt x="121" y="369"/>
                  </a:lnTo>
                  <a:lnTo>
                    <a:pt x="121" y="172"/>
                  </a:lnTo>
                  <a:close/>
                  <a:moveTo>
                    <a:pt x="0" y="474"/>
                  </a:moveTo>
                  <a:lnTo>
                    <a:pt x="0" y="478"/>
                  </a:lnTo>
                  <a:lnTo>
                    <a:pt x="3" y="482"/>
                  </a:lnTo>
                  <a:lnTo>
                    <a:pt x="6" y="485"/>
                  </a:lnTo>
                  <a:lnTo>
                    <a:pt x="9" y="488"/>
                  </a:lnTo>
                  <a:lnTo>
                    <a:pt x="452" y="695"/>
                  </a:lnTo>
                  <a:lnTo>
                    <a:pt x="452" y="685"/>
                  </a:lnTo>
                  <a:lnTo>
                    <a:pt x="452" y="661"/>
                  </a:lnTo>
                  <a:lnTo>
                    <a:pt x="452" y="198"/>
                  </a:lnTo>
                  <a:lnTo>
                    <a:pt x="452" y="198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506">
              <a:extLst>
                <a:ext uri="{FF2B5EF4-FFF2-40B4-BE49-F238E27FC236}">
                  <a16:creationId xmlns:a16="http://schemas.microsoft.com/office/drawing/2014/main" id="{69EB9D60-F066-4676-AA31-F92F598AA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088" y="1947863"/>
              <a:ext cx="201613" cy="90488"/>
            </a:xfrm>
            <a:custGeom>
              <a:avLst/>
              <a:gdLst>
                <a:gd name="T0" fmla="*/ 212 w 639"/>
                <a:gd name="T1" fmla="*/ 0 h 281"/>
                <a:gd name="T2" fmla="*/ 0 w 639"/>
                <a:gd name="T3" fmla="*/ 85 h 281"/>
                <a:gd name="T4" fmla="*/ 449 w 639"/>
                <a:gd name="T5" fmla="*/ 281 h 281"/>
                <a:gd name="T6" fmla="*/ 639 w 639"/>
                <a:gd name="T7" fmla="*/ 192 h 281"/>
                <a:gd name="T8" fmla="*/ 212 w 639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281">
                  <a:moveTo>
                    <a:pt x="212" y="0"/>
                  </a:moveTo>
                  <a:lnTo>
                    <a:pt x="0" y="85"/>
                  </a:lnTo>
                  <a:lnTo>
                    <a:pt x="449" y="281"/>
                  </a:lnTo>
                  <a:lnTo>
                    <a:pt x="639" y="19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507">
              <a:extLst>
                <a:ext uri="{FF2B5EF4-FFF2-40B4-BE49-F238E27FC236}">
                  <a16:creationId xmlns:a16="http://schemas.microsoft.com/office/drawing/2014/main" id="{422D29BA-01AC-4044-8474-764B9985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1984375"/>
              <a:ext cx="134938" cy="219075"/>
            </a:xfrm>
            <a:custGeom>
              <a:avLst/>
              <a:gdLst>
                <a:gd name="T0" fmla="*/ 0 w 421"/>
                <a:gd name="T1" fmla="*/ 196 h 693"/>
                <a:gd name="T2" fmla="*/ 0 w 421"/>
                <a:gd name="T3" fmla="*/ 659 h 693"/>
                <a:gd name="T4" fmla="*/ 0 w 421"/>
                <a:gd name="T5" fmla="*/ 684 h 693"/>
                <a:gd name="T6" fmla="*/ 0 w 421"/>
                <a:gd name="T7" fmla="*/ 693 h 693"/>
                <a:gd name="T8" fmla="*/ 413 w 421"/>
                <a:gd name="T9" fmla="*/ 487 h 693"/>
                <a:gd name="T10" fmla="*/ 416 w 421"/>
                <a:gd name="T11" fmla="*/ 483 h 693"/>
                <a:gd name="T12" fmla="*/ 419 w 421"/>
                <a:gd name="T13" fmla="*/ 481 h 693"/>
                <a:gd name="T14" fmla="*/ 420 w 421"/>
                <a:gd name="T15" fmla="*/ 477 h 693"/>
                <a:gd name="T16" fmla="*/ 421 w 421"/>
                <a:gd name="T17" fmla="*/ 473 h 693"/>
                <a:gd name="T18" fmla="*/ 421 w 421"/>
                <a:gd name="T19" fmla="*/ 0 h 693"/>
                <a:gd name="T20" fmla="*/ 0 w 421"/>
                <a:gd name="T21" fmla="*/ 19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693">
                  <a:moveTo>
                    <a:pt x="0" y="196"/>
                  </a:moveTo>
                  <a:lnTo>
                    <a:pt x="0" y="659"/>
                  </a:lnTo>
                  <a:lnTo>
                    <a:pt x="0" y="684"/>
                  </a:lnTo>
                  <a:lnTo>
                    <a:pt x="0" y="693"/>
                  </a:lnTo>
                  <a:lnTo>
                    <a:pt x="413" y="487"/>
                  </a:lnTo>
                  <a:lnTo>
                    <a:pt x="416" y="483"/>
                  </a:lnTo>
                  <a:lnTo>
                    <a:pt x="419" y="481"/>
                  </a:lnTo>
                  <a:lnTo>
                    <a:pt x="420" y="477"/>
                  </a:lnTo>
                  <a:lnTo>
                    <a:pt x="421" y="473"/>
                  </a:lnTo>
                  <a:lnTo>
                    <a:pt x="421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508">
              <a:extLst>
                <a:ext uri="{FF2B5EF4-FFF2-40B4-BE49-F238E27FC236}">
                  <a16:creationId xmlns:a16="http://schemas.microsoft.com/office/drawing/2014/main" id="{70FA0C93-9F6B-41AF-A5E6-97D89CE6B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1919288"/>
              <a:ext cx="195263" cy="85725"/>
            </a:xfrm>
            <a:custGeom>
              <a:avLst/>
              <a:gdLst>
                <a:gd name="T0" fmla="*/ 618 w 618"/>
                <a:gd name="T1" fmla="*/ 178 h 269"/>
                <a:gd name="T2" fmla="*/ 203 w 618"/>
                <a:gd name="T3" fmla="*/ 1 h 269"/>
                <a:gd name="T4" fmla="*/ 201 w 618"/>
                <a:gd name="T5" fmla="*/ 0 h 269"/>
                <a:gd name="T6" fmla="*/ 198 w 618"/>
                <a:gd name="T7" fmla="*/ 0 h 269"/>
                <a:gd name="T8" fmla="*/ 195 w 618"/>
                <a:gd name="T9" fmla="*/ 0 h 269"/>
                <a:gd name="T10" fmla="*/ 193 w 618"/>
                <a:gd name="T11" fmla="*/ 1 h 269"/>
                <a:gd name="T12" fmla="*/ 0 w 618"/>
                <a:gd name="T13" fmla="*/ 77 h 269"/>
                <a:gd name="T14" fmla="*/ 423 w 618"/>
                <a:gd name="T15" fmla="*/ 269 h 269"/>
                <a:gd name="T16" fmla="*/ 618 w 618"/>
                <a:gd name="T17" fmla="*/ 17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8" h="269">
                  <a:moveTo>
                    <a:pt x="618" y="178"/>
                  </a:moveTo>
                  <a:lnTo>
                    <a:pt x="203" y="1"/>
                  </a:lnTo>
                  <a:lnTo>
                    <a:pt x="201" y="0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93" y="1"/>
                  </a:lnTo>
                  <a:lnTo>
                    <a:pt x="0" y="77"/>
                  </a:lnTo>
                  <a:lnTo>
                    <a:pt x="423" y="269"/>
                  </a:lnTo>
                  <a:lnTo>
                    <a:pt x="61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08905B85-E6BE-44CA-B230-B498D7457F46}"/>
              </a:ext>
            </a:extLst>
          </p:cNvPr>
          <p:cNvGrpSpPr/>
          <p:nvPr/>
        </p:nvGrpSpPr>
        <p:grpSpPr>
          <a:xfrm>
            <a:off x="5653034" y="2505225"/>
            <a:ext cx="215881" cy="187256"/>
            <a:chOff x="2598738" y="2530475"/>
            <a:chExt cx="287338" cy="249238"/>
          </a:xfrm>
          <a:solidFill>
            <a:schemeClr val="bg1"/>
          </a:solidFill>
        </p:grpSpPr>
        <p:sp>
          <p:nvSpPr>
            <p:cNvPr id="179" name="Freeform 527">
              <a:extLst>
                <a:ext uri="{FF2B5EF4-FFF2-40B4-BE49-F238E27FC236}">
                  <a16:creationId xmlns:a16="http://schemas.microsoft.com/office/drawing/2014/main" id="{9D5D291A-EE04-4BBB-A753-B9585AC75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2625725"/>
              <a:ext cx="123825" cy="134938"/>
            </a:xfrm>
            <a:custGeom>
              <a:avLst/>
              <a:gdLst>
                <a:gd name="T0" fmla="*/ 187 w 391"/>
                <a:gd name="T1" fmla="*/ 0 h 421"/>
                <a:gd name="T2" fmla="*/ 172 w 391"/>
                <a:gd name="T3" fmla="*/ 19 h 421"/>
                <a:gd name="T4" fmla="*/ 155 w 391"/>
                <a:gd name="T5" fmla="*/ 36 h 421"/>
                <a:gd name="T6" fmla="*/ 135 w 391"/>
                <a:gd name="T7" fmla="*/ 52 h 421"/>
                <a:gd name="T8" fmla="*/ 113 w 391"/>
                <a:gd name="T9" fmla="*/ 65 h 421"/>
                <a:gd name="T10" fmla="*/ 91 w 391"/>
                <a:gd name="T11" fmla="*/ 76 h 421"/>
                <a:gd name="T12" fmla="*/ 67 w 391"/>
                <a:gd name="T13" fmla="*/ 83 h 421"/>
                <a:gd name="T14" fmla="*/ 41 w 391"/>
                <a:gd name="T15" fmla="*/ 89 h 421"/>
                <a:gd name="T16" fmla="*/ 15 w 391"/>
                <a:gd name="T17" fmla="*/ 90 h 421"/>
                <a:gd name="T18" fmla="*/ 0 w 391"/>
                <a:gd name="T19" fmla="*/ 89 h 421"/>
                <a:gd name="T20" fmla="*/ 1 w 391"/>
                <a:gd name="T21" fmla="*/ 410 h 421"/>
                <a:gd name="T22" fmla="*/ 3 w 391"/>
                <a:gd name="T23" fmla="*/ 415 h 421"/>
                <a:gd name="T24" fmla="*/ 6 w 391"/>
                <a:gd name="T25" fmla="*/ 418 h 421"/>
                <a:gd name="T26" fmla="*/ 11 w 391"/>
                <a:gd name="T27" fmla="*/ 421 h 421"/>
                <a:gd name="T28" fmla="*/ 77 w 391"/>
                <a:gd name="T29" fmla="*/ 421 h 421"/>
                <a:gd name="T30" fmla="*/ 75 w 391"/>
                <a:gd name="T31" fmla="*/ 406 h 421"/>
                <a:gd name="T32" fmla="*/ 77 w 391"/>
                <a:gd name="T33" fmla="*/ 385 h 421"/>
                <a:gd name="T34" fmla="*/ 83 w 391"/>
                <a:gd name="T35" fmla="*/ 366 h 421"/>
                <a:gd name="T36" fmla="*/ 93 w 391"/>
                <a:gd name="T37" fmla="*/ 347 h 421"/>
                <a:gd name="T38" fmla="*/ 106 w 391"/>
                <a:gd name="T39" fmla="*/ 331 h 421"/>
                <a:gd name="T40" fmla="*/ 122 w 391"/>
                <a:gd name="T41" fmla="*/ 318 h 421"/>
                <a:gd name="T42" fmla="*/ 139 w 391"/>
                <a:gd name="T43" fmla="*/ 309 h 421"/>
                <a:gd name="T44" fmla="*/ 159 w 391"/>
                <a:gd name="T45" fmla="*/ 303 h 421"/>
                <a:gd name="T46" fmla="*/ 181 w 391"/>
                <a:gd name="T47" fmla="*/ 301 h 421"/>
                <a:gd name="T48" fmla="*/ 201 w 391"/>
                <a:gd name="T49" fmla="*/ 303 h 421"/>
                <a:gd name="T50" fmla="*/ 222 w 391"/>
                <a:gd name="T51" fmla="*/ 309 h 421"/>
                <a:gd name="T52" fmla="*/ 240 w 391"/>
                <a:gd name="T53" fmla="*/ 318 h 421"/>
                <a:gd name="T54" fmla="*/ 255 w 391"/>
                <a:gd name="T55" fmla="*/ 331 h 421"/>
                <a:gd name="T56" fmla="*/ 268 w 391"/>
                <a:gd name="T57" fmla="*/ 347 h 421"/>
                <a:gd name="T58" fmla="*/ 277 w 391"/>
                <a:gd name="T59" fmla="*/ 366 h 421"/>
                <a:gd name="T60" fmla="*/ 284 w 391"/>
                <a:gd name="T61" fmla="*/ 385 h 421"/>
                <a:gd name="T62" fmla="*/ 286 w 391"/>
                <a:gd name="T63" fmla="*/ 406 h 421"/>
                <a:gd name="T64" fmla="*/ 285 w 391"/>
                <a:gd name="T65" fmla="*/ 421 h 421"/>
                <a:gd name="T66" fmla="*/ 379 w 391"/>
                <a:gd name="T67" fmla="*/ 420 h 421"/>
                <a:gd name="T68" fmla="*/ 385 w 391"/>
                <a:gd name="T69" fmla="*/ 418 h 421"/>
                <a:gd name="T70" fmla="*/ 389 w 391"/>
                <a:gd name="T71" fmla="*/ 415 h 421"/>
                <a:gd name="T72" fmla="*/ 391 w 391"/>
                <a:gd name="T73" fmla="*/ 410 h 421"/>
                <a:gd name="T74" fmla="*/ 391 w 391"/>
                <a:gd name="T75" fmla="*/ 15 h 421"/>
                <a:gd name="T76" fmla="*/ 390 w 391"/>
                <a:gd name="T77" fmla="*/ 8 h 421"/>
                <a:gd name="T78" fmla="*/ 387 w 391"/>
                <a:gd name="T79" fmla="*/ 4 h 421"/>
                <a:gd name="T80" fmla="*/ 382 w 391"/>
                <a:gd name="T81" fmla="*/ 1 h 421"/>
                <a:gd name="T82" fmla="*/ 376 w 391"/>
                <a:gd name="T83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1" h="421">
                  <a:moveTo>
                    <a:pt x="376" y="0"/>
                  </a:moveTo>
                  <a:lnTo>
                    <a:pt x="187" y="0"/>
                  </a:lnTo>
                  <a:lnTo>
                    <a:pt x="180" y="9"/>
                  </a:lnTo>
                  <a:lnTo>
                    <a:pt x="172" y="19"/>
                  </a:lnTo>
                  <a:lnTo>
                    <a:pt x="164" y="28"/>
                  </a:lnTo>
                  <a:lnTo>
                    <a:pt x="155" y="36"/>
                  </a:lnTo>
                  <a:lnTo>
                    <a:pt x="145" y="45"/>
                  </a:lnTo>
                  <a:lnTo>
                    <a:pt x="135" y="52"/>
                  </a:lnTo>
                  <a:lnTo>
                    <a:pt x="125" y="59"/>
                  </a:lnTo>
                  <a:lnTo>
                    <a:pt x="113" y="65"/>
                  </a:lnTo>
                  <a:lnTo>
                    <a:pt x="103" y="71"/>
                  </a:lnTo>
                  <a:lnTo>
                    <a:pt x="91" y="76"/>
                  </a:lnTo>
                  <a:lnTo>
                    <a:pt x="79" y="80"/>
                  </a:lnTo>
                  <a:lnTo>
                    <a:pt x="67" y="83"/>
                  </a:lnTo>
                  <a:lnTo>
                    <a:pt x="54" y="87"/>
                  </a:lnTo>
                  <a:lnTo>
                    <a:pt x="41" y="89"/>
                  </a:lnTo>
                  <a:lnTo>
                    <a:pt x="29" y="90"/>
                  </a:lnTo>
                  <a:lnTo>
                    <a:pt x="15" y="90"/>
                  </a:lnTo>
                  <a:lnTo>
                    <a:pt x="7" y="90"/>
                  </a:lnTo>
                  <a:lnTo>
                    <a:pt x="0" y="89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8"/>
                  </a:lnTo>
                  <a:lnTo>
                    <a:pt x="9" y="420"/>
                  </a:lnTo>
                  <a:lnTo>
                    <a:pt x="11" y="421"/>
                  </a:lnTo>
                  <a:lnTo>
                    <a:pt x="15" y="421"/>
                  </a:lnTo>
                  <a:lnTo>
                    <a:pt x="77" y="421"/>
                  </a:lnTo>
                  <a:lnTo>
                    <a:pt x="76" y="414"/>
                  </a:lnTo>
                  <a:lnTo>
                    <a:pt x="75" y="406"/>
                  </a:lnTo>
                  <a:lnTo>
                    <a:pt x="76" y="396"/>
                  </a:lnTo>
                  <a:lnTo>
                    <a:pt x="77" y="385"/>
                  </a:lnTo>
                  <a:lnTo>
                    <a:pt x="80" y="375"/>
                  </a:lnTo>
                  <a:lnTo>
                    <a:pt x="83" y="366"/>
                  </a:lnTo>
                  <a:lnTo>
                    <a:pt x="88" y="356"/>
                  </a:lnTo>
                  <a:lnTo>
                    <a:pt x="93" y="347"/>
                  </a:lnTo>
                  <a:lnTo>
                    <a:pt x="99" y="339"/>
                  </a:lnTo>
                  <a:lnTo>
                    <a:pt x="106" y="331"/>
                  </a:lnTo>
                  <a:lnTo>
                    <a:pt x="113" y="325"/>
                  </a:lnTo>
                  <a:lnTo>
                    <a:pt x="122" y="318"/>
                  </a:lnTo>
                  <a:lnTo>
                    <a:pt x="130" y="313"/>
                  </a:lnTo>
                  <a:lnTo>
                    <a:pt x="139" y="309"/>
                  </a:lnTo>
                  <a:lnTo>
                    <a:pt x="150" y="305"/>
                  </a:lnTo>
                  <a:lnTo>
                    <a:pt x="159" y="303"/>
                  </a:lnTo>
                  <a:lnTo>
                    <a:pt x="170" y="301"/>
                  </a:lnTo>
                  <a:lnTo>
                    <a:pt x="181" y="301"/>
                  </a:lnTo>
                  <a:lnTo>
                    <a:pt x="192" y="301"/>
                  </a:lnTo>
                  <a:lnTo>
                    <a:pt x="201" y="303"/>
                  </a:lnTo>
                  <a:lnTo>
                    <a:pt x="212" y="305"/>
                  </a:lnTo>
                  <a:lnTo>
                    <a:pt x="222" y="309"/>
                  </a:lnTo>
                  <a:lnTo>
                    <a:pt x="230" y="313"/>
                  </a:lnTo>
                  <a:lnTo>
                    <a:pt x="240" y="318"/>
                  </a:lnTo>
                  <a:lnTo>
                    <a:pt x="247" y="325"/>
                  </a:lnTo>
                  <a:lnTo>
                    <a:pt x="255" y="331"/>
                  </a:lnTo>
                  <a:lnTo>
                    <a:pt x="261" y="339"/>
                  </a:lnTo>
                  <a:lnTo>
                    <a:pt x="268" y="347"/>
                  </a:lnTo>
                  <a:lnTo>
                    <a:pt x="273" y="356"/>
                  </a:lnTo>
                  <a:lnTo>
                    <a:pt x="277" y="366"/>
                  </a:lnTo>
                  <a:lnTo>
                    <a:pt x="282" y="375"/>
                  </a:lnTo>
                  <a:lnTo>
                    <a:pt x="284" y="385"/>
                  </a:lnTo>
                  <a:lnTo>
                    <a:pt x="285" y="396"/>
                  </a:lnTo>
                  <a:lnTo>
                    <a:pt x="286" y="406"/>
                  </a:lnTo>
                  <a:lnTo>
                    <a:pt x="286" y="414"/>
                  </a:lnTo>
                  <a:lnTo>
                    <a:pt x="285" y="421"/>
                  </a:lnTo>
                  <a:lnTo>
                    <a:pt x="376" y="421"/>
                  </a:lnTo>
                  <a:lnTo>
                    <a:pt x="379" y="420"/>
                  </a:lnTo>
                  <a:lnTo>
                    <a:pt x="382" y="420"/>
                  </a:lnTo>
                  <a:lnTo>
                    <a:pt x="385" y="418"/>
                  </a:lnTo>
                  <a:lnTo>
                    <a:pt x="387" y="417"/>
                  </a:lnTo>
                  <a:lnTo>
                    <a:pt x="389" y="415"/>
                  </a:lnTo>
                  <a:lnTo>
                    <a:pt x="390" y="412"/>
                  </a:lnTo>
                  <a:lnTo>
                    <a:pt x="391" y="410"/>
                  </a:lnTo>
                  <a:lnTo>
                    <a:pt x="391" y="406"/>
                  </a:lnTo>
                  <a:lnTo>
                    <a:pt x="391" y="15"/>
                  </a:lnTo>
                  <a:lnTo>
                    <a:pt x="391" y="12"/>
                  </a:lnTo>
                  <a:lnTo>
                    <a:pt x="390" y="8"/>
                  </a:lnTo>
                  <a:lnTo>
                    <a:pt x="389" y="6"/>
                  </a:lnTo>
                  <a:lnTo>
                    <a:pt x="387" y="4"/>
                  </a:lnTo>
                  <a:lnTo>
                    <a:pt x="385" y="2"/>
                  </a:lnTo>
                  <a:lnTo>
                    <a:pt x="382" y="1"/>
                  </a:lnTo>
                  <a:lnTo>
                    <a:pt x="379" y="0"/>
                  </a:lnTo>
                  <a:lnTo>
                    <a:pt x="376" y="0"/>
                  </a:lnTo>
                  <a:lnTo>
                    <a:pt x="3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528">
              <a:extLst>
                <a:ext uri="{FF2B5EF4-FFF2-40B4-BE49-F238E27FC236}">
                  <a16:creationId xmlns:a16="http://schemas.microsoft.com/office/drawing/2014/main" id="{EB2747B3-FD70-4CD7-AD46-B5E325FB0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2692400"/>
              <a:ext cx="47625" cy="9525"/>
            </a:xfrm>
            <a:custGeom>
              <a:avLst/>
              <a:gdLst>
                <a:gd name="T0" fmla="*/ 136 w 151"/>
                <a:gd name="T1" fmla="*/ 0 h 30"/>
                <a:gd name="T2" fmla="*/ 15 w 151"/>
                <a:gd name="T3" fmla="*/ 0 h 30"/>
                <a:gd name="T4" fmla="*/ 12 w 151"/>
                <a:gd name="T5" fmla="*/ 1 h 30"/>
                <a:gd name="T6" fmla="*/ 9 w 151"/>
                <a:gd name="T7" fmla="*/ 1 h 30"/>
                <a:gd name="T8" fmla="*/ 7 w 151"/>
                <a:gd name="T9" fmla="*/ 3 h 30"/>
                <a:gd name="T10" fmla="*/ 5 w 151"/>
                <a:gd name="T11" fmla="*/ 4 h 30"/>
                <a:gd name="T12" fmla="*/ 3 w 151"/>
                <a:gd name="T13" fmla="*/ 6 h 30"/>
                <a:gd name="T14" fmla="*/ 2 w 151"/>
                <a:gd name="T15" fmla="*/ 10 h 30"/>
                <a:gd name="T16" fmla="*/ 0 w 151"/>
                <a:gd name="T17" fmla="*/ 13 h 30"/>
                <a:gd name="T18" fmla="*/ 0 w 151"/>
                <a:gd name="T19" fmla="*/ 15 h 30"/>
                <a:gd name="T20" fmla="*/ 0 w 151"/>
                <a:gd name="T21" fmla="*/ 18 h 30"/>
                <a:gd name="T22" fmla="*/ 2 w 151"/>
                <a:gd name="T23" fmla="*/ 21 h 30"/>
                <a:gd name="T24" fmla="*/ 3 w 151"/>
                <a:gd name="T25" fmla="*/ 24 h 30"/>
                <a:gd name="T26" fmla="*/ 5 w 151"/>
                <a:gd name="T27" fmla="*/ 26 h 30"/>
                <a:gd name="T28" fmla="*/ 7 w 151"/>
                <a:gd name="T29" fmla="*/ 28 h 30"/>
                <a:gd name="T30" fmla="*/ 9 w 151"/>
                <a:gd name="T31" fmla="*/ 29 h 30"/>
                <a:gd name="T32" fmla="*/ 12 w 151"/>
                <a:gd name="T33" fmla="*/ 30 h 30"/>
                <a:gd name="T34" fmla="*/ 15 w 151"/>
                <a:gd name="T35" fmla="*/ 30 h 30"/>
                <a:gd name="T36" fmla="*/ 136 w 151"/>
                <a:gd name="T37" fmla="*/ 30 h 30"/>
                <a:gd name="T38" fmla="*/ 139 w 151"/>
                <a:gd name="T39" fmla="*/ 30 h 30"/>
                <a:gd name="T40" fmla="*/ 142 w 151"/>
                <a:gd name="T41" fmla="*/ 29 h 30"/>
                <a:gd name="T42" fmla="*/ 144 w 151"/>
                <a:gd name="T43" fmla="*/ 28 h 30"/>
                <a:gd name="T44" fmla="*/ 146 w 151"/>
                <a:gd name="T45" fmla="*/ 26 h 30"/>
                <a:gd name="T46" fmla="*/ 148 w 151"/>
                <a:gd name="T47" fmla="*/ 24 h 30"/>
                <a:gd name="T48" fmla="*/ 150 w 151"/>
                <a:gd name="T49" fmla="*/ 21 h 30"/>
                <a:gd name="T50" fmla="*/ 151 w 151"/>
                <a:gd name="T51" fmla="*/ 18 h 30"/>
                <a:gd name="T52" fmla="*/ 151 w 151"/>
                <a:gd name="T53" fmla="*/ 15 h 30"/>
                <a:gd name="T54" fmla="*/ 151 w 151"/>
                <a:gd name="T55" fmla="*/ 13 h 30"/>
                <a:gd name="T56" fmla="*/ 150 w 151"/>
                <a:gd name="T57" fmla="*/ 10 h 30"/>
                <a:gd name="T58" fmla="*/ 148 w 151"/>
                <a:gd name="T59" fmla="*/ 8 h 30"/>
                <a:gd name="T60" fmla="*/ 146 w 151"/>
                <a:gd name="T61" fmla="*/ 4 h 30"/>
                <a:gd name="T62" fmla="*/ 144 w 151"/>
                <a:gd name="T63" fmla="*/ 3 h 30"/>
                <a:gd name="T64" fmla="*/ 142 w 151"/>
                <a:gd name="T65" fmla="*/ 1 h 30"/>
                <a:gd name="T66" fmla="*/ 139 w 151"/>
                <a:gd name="T67" fmla="*/ 1 h 30"/>
                <a:gd name="T68" fmla="*/ 136 w 15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30">
                  <a:moveTo>
                    <a:pt x="13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50" y="21"/>
                  </a:lnTo>
                  <a:lnTo>
                    <a:pt x="151" y="18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0" y="10"/>
                  </a:lnTo>
                  <a:lnTo>
                    <a:pt x="148" y="8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9" y="1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529">
              <a:extLst>
                <a:ext uri="{FF2B5EF4-FFF2-40B4-BE49-F238E27FC236}">
                  <a16:creationId xmlns:a16="http://schemas.microsoft.com/office/drawing/2014/main" id="{F64736AE-FBBC-434D-9228-01D50D433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7788" y="2711450"/>
              <a:ext cx="28575" cy="11113"/>
            </a:xfrm>
            <a:custGeom>
              <a:avLst/>
              <a:gdLst>
                <a:gd name="T0" fmla="*/ 76 w 91"/>
                <a:gd name="T1" fmla="*/ 0 h 31"/>
                <a:gd name="T2" fmla="*/ 16 w 91"/>
                <a:gd name="T3" fmla="*/ 0 h 31"/>
                <a:gd name="T4" fmla="*/ 12 w 91"/>
                <a:gd name="T5" fmla="*/ 1 h 31"/>
                <a:gd name="T6" fmla="*/ 10 w 91"/>
                <a:gd name="T7" fmla="*/ 1 h 31"/>
                <a:gd name="T8" fmla="*/ 7 w 91"/>
                <a:gd name="T9" fmla="*/ 3 h 31"/>
                <a:gd name="T10" fmla="*/ 5 w 91"/>
                <a:gd name="T11" fmla="*/ 5 h 31"/>
                <a:gd name="T12" fmla="*/ 3 w 91"/>
                <a:gd name="T13" fmla="*/ 8 h 31"/>
                <a:gd name="T14" fmla="*/ 2 w 91"/>
                <a:gd name="T15" fmla="*/ 10 h 31"/>
                <a:gd name="T16" fmla="*/ 0 w 91"/>
                <a:gd name="T17" fmla="*/ 13 h 31"/>
                <a:gd name="T18" fmla="*/ 0 w 91"/>
                <a:gd name="T19" fmla="*/ 15 h 31"/>
                <a:gd name="T20" fmla="*/ 0 w 91"/>
                <a:gd name="T21" fmla="*/ 18 h 31"/>
                <a:gd name="T22" fmla="*/ 2 w 91"/>
                <a:gd name="T23" fmla="*/ 22 h 31"/>
                <a:gd name="T24" fmla="*/ 3 w 91"/>
                <a:gd name="T25" fmla="*/ 24 h 31"/>
                <a:gd name="T26" fmla="*/ 5 w 91"/>
                <a:gd name="T27" fmla="*/ 26 h 31"/>
                <a:gd name="T28" fmla="*/ 7 w 91"/>
                <a:gd name="T29" fmla="*/ 28 h 31"/>
                <a:gd name="T30" fmla="*/ 10 w 91"/>
                <a:gd name="T31" fmla="*/ 29 h 31"/>
                <a:gd name="T32" fmla="*/ 12 w 91"/>
                <a:gd name="T33" fmla="*/ 30 h 31"/>
                <a:gd name="T34" fmla="*/ 16 w 91"/>
                <a:gd name="T35" fmla="*/ 31 h 31"/>
                <a:gd name="T36" fmla="*/ 76 w 91"/>
                <a:gd name="T37" fmla="*/ 31 h 31"/>
                <a:gd name="T38" fmla="*/ 79 w 91"/>
                <a:gd name="T39" fmla="*/ 30 h 31"/>
                <a:gd name="T40" fmla="*/ 82 w 91"/>
                <a:gd name="T41" fmla="*/ 29 h 31"/>
                <a:gd name="T42" fmla="*/ 84 w 91"/>
                <a:gd name="T43" fmla="*/ 28 h 31"/>
                <a:gd name="T44" fmla="*/ 86 w 91"/>
                <a:gd name="T45" fmla="*/ 26 h 31"/>
                <a:gd name="T46" fmla="*/ 88 w 91"/>
                <a:gd name="T47" fmla="*/ 24 h 31"/>
                <a:gd name="T48" fmla="*/ 90 w 91"/>
                <a:gd name="T49" fmla="*/ 22 h 31"/>
                <a:gd name="T50" fmla="*/ 91 w 91"/>
                <a:gd name="T51" fmla="*/ 18 h 31"/>
                <a:gd name="T52" fmla="*/ 91 w 91"/>
                <a:gd name="T53" fmla="*/ 15 h 31"/>
                <a:gd name="T54" fmla="*/ 91 w 91"/>
                <a:gd name="T55" fmla="*/ 13 h 31"/>
                <a:gd name="T56" fmla="*/ 90 w 91"/>
                <a:gd name="T57" fmla="*/ 10 h 31"/>
                <a:gd name="T58" fmla="*/ 88 w 91"/>
                <a:gd name="T59" fmla="*/ 8 h 31"/>
                <a:gd name="T60" fmla="*/ 86 w 91"/>
                <a:gd name="T61" fmla="*/ 5 h 31"/>
                <a:gd name="T62" fmla="*/ 84 w 91"/>
                <a:gd name="T63" fmla="*/ 3 h 31"/>
                <a:gd name="T64" fmla="*/ 82 w 91"/>
                <a:gd name="T65" fmla="*/ 2 h 31"/>
                <a:gd name="T66" fmla="*/ 79 w 91"/>
                <a:gd name="T67" fmla="*/ 1 h 31"/>
                <a:gd name="T68" fmla="*/ 76 w 91"/>
                <a:gd name="T69" fmla="*/ 0 h 31"/>
                <a:gd name="T70" fmla="*/ 76 w 91"/>
                <a:gd name="T7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" h="31">
                  <a:moveTo>
                    <a:pt x="76" y="0"/>
                  </a:moveTo>
                  <a:lnTo>
                    <a:pt x="16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79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1" y="18"/>
                  </a:lnTo>
                  <a:lnTo>
                    <a:pt x="91" y="15"/>
                  </a:lnTo>
                  <a:lnTo>
                    <a:pt x="91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2" y="2"/>
                  </a:lnTo>
                  <a:lnTo>
                    <a:pt x="79" y="1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530">
              <a:extLst>
                <a:ext uri="{FF2B5EF4-FFF2-40B4-BE49-F238E27FC236}">
                  <a16:creationId xmlns:a16="http://schemas.microsoft.com/office/drawing/2014/main" id="{654504E9-D8C6-406C-9420-7CA51364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313" y="273208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1 w 60"/>
                <a:gd name="T5" fmla="*/ 0 h 30"/>
                <a:gd name="T6" fmla="*/ 9 w 60"/>
                <a:gd name="T7" fmla="*/ 1 h 30"/>
                <a:gd name="T8" fmla="*/ 6 w 60"/>
                <a:gd name="T9" fmla="*/ 2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7 h 30"/>
                <a:gd name="T22" fmla="*/ 1 w 60"/>
                <a:gd name="T23" fmla="*/ 21 h 30"/>
                <a:gd name="T24" fmla="*/ 2 w 60"/>
                <a:gd name="T25" fmla="*/ 23 h 30"/>
                <a:gd name="T26" fmla="*/ 4 w 60"/>
                <a:gd name="T27" fmla="*/ 26 h 30"/>
                <a:gd name="T28" fmla="*/ 6 w 60"/>
                <a:gd name="T29" fmla="*/ 27 h 30"/>
                <a:gd name="T30" fmla="*/ 9 w 60"/>
                <a:gd name="T31" fmla="*/ 29 h 30"/>
                <a:gd name="T32" fmla="*/ 11 w 60"/>
                <a:gd name="T33" fmla="*/ 29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29 h 30"/>
                <a:gd name="T40" fmla="*/ 51 w 60"/>
                <a:gd name="T41" fmla="*/ 29 h 30"/>
                <a:gd name="T42" fmla="*/ 53 w 60"/>
                <a:gd name="T43" fmla="*/ 27 h 30"/>
                <a:gd name="T44" fmla="*/ 55 w 60"/>
                <a:gd name="T45" fmla="*/ 26 h 30"/>
                <a:gd name="T46" fmla="*/ 57 w 60"/>
                <a:gd name="T47" fmla="*/ 23 h 30"/>
                <a:gd name="T48" fmla="*/ 59 w 60"/>
                <a:gd name="T49" fmla="*/ 21 h 30"/>
                <a:gd name="T50" fmla="*/ 60 w 60"/>
                <a:gd name="T51" fmla="*/ 17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7 w 60"/>
                <a:gd name="T59" fmla="*/ 7 h 30"/>
                <a:gd name="T60" fmla="*/ 55 w 60"/>
                <a:gd name="T61" fmla="*/ 5 h 30"/>
                <a:gd name="T62" fmla="*/ 53 w 60"/>
                <a:gd name="T63" fmla="*/ 2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9" y="21"/>
                  </a:lnTo>
                  <a:lnTo>
                    <a:pt x="60" y="17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531">
              <a:extLst>
                <a:ext uri="{FF2B5EF4-FFF2-40B4-BE49-F238E27FC236}">
                  <a16:creationId xmlns:a16="http://schemas.microsoft.com/office/drawing/2014/main" id="{772896F4-70A5-48C1-AAF4-08544CD8B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3500" y="2530475"/>
              <a:ext cx="114300" cy="114300"/>
            </a:xfrm>
            <a:custGeom>
              <a:avLst/>
              <a:gdLst>
                <a:gd name="T0" fmla="*/ 167 w 362"/>
                <a:gd name="T1" fmla="*/ 103 h 362"/>
                <a:gd name="T2" fmla="*/ 169 w 362"/>
                <a:gd name="T3" fmla="*/ 98 h 362"/>
                <a:gd name="T4" fmla="*/ 172 w 362"/>
                <a:gd name="T5" fmla="*/ 94 h 362"/>
                <a:gd name="T6" fmla="*/ 177 w 362"/>
                <a:gd name="T7" fmla="*/ 92 h 362"/>
                <a:gd name="T8" fmla="*/ 184 w 362"/>
                <a:gd name="T9" fmla="*/ 92 h 362"/>
                <a:gd name="T10" fmla="*/ 189 w 362"/>
                <a:gd name="T11" fmla="*/ 94 h 362"/>
                <a:gd name="T12" fmla="*/ 193 w 362"/>
                <a:gd name="T13" fmla="*/ 98 h 362"/>
                <a:gd name="T14" fmla="*/ 196 w 362"/>
                <a:gd name="T15" fmla="*/ 103 h 362"/>
                <a:gd name="T16" fmla="*/ 196 w 362"/>
                <a:gd name="T17" fmla="*/ 181 h 362"/>
                <a:gd name="T18" fmla="*/ 244 w 362"/>
                <a:gd name="T19" fmla="*/ 182 h 362"/>
                <a:gd name="T20" fmla="*/ 249 w 362"/>
                <a:gd name="T21" fmla="*/ 184 h 362"/>
                <a:gd name="T22" fmla="*/ 254 w 362"/>
                <a:gd name="T23" fmla="*/ 188 h 362"/>
                <a:gd name="T24" fmla="*/ 256 w 362"/>
                <a:gd name="T25" fmla="*/ 193 h 362"/>
                <a:gd name="T26" fmla="*/ 256 w 362"/>
                <a:gd name="T27" fmla="*/ 199 h 362"/>
                <a:gd name="T28" fmla="*/ 254 w 362"/>
                <a:gd name="T29" fmla="*/ 204 h 362"/>
                <a:gd name="T30" fmla="*/ 249 w 362"/>
                <a:gd name="T31" fmla="*/ 208 h 362"/>
                <a:gd name="T32" fmla="*/ 244 w 362"/>
                <a:gd name="T33" fmla="*/ 211 h 362"/>
                <a:gd name="T34" fmla="*/ 181 w 362"/>
                <a:gd name="T35" fmla="*/ 212 h 362"/>
                <a:gd name="T36" fmla="*/ 175 w 362"/>
                <a:gd name="T37" fmla="*/ 211 h 362"/>
                <a:gd name="T38" fmla="*/ 170 w 362"/>
                <a:gd name="T39" fmla="*/ 206 h 362"/>
                <a:gd name="T40" fmla="*/ 167 w 362"/>
                <a:gd name="T41" fmla="*/ 202 h 362"/>
                <a:gd name="T42" fmla="*/ 166 w 362"/>
                <a:gd name="T43" fmla="*/ 197 h 362"/>
                <a:gd name="T44" fmla="*/ 181 w 362"/>
                <a:gd name="T45" fmla="*/ 362 h 362"/>
                <a:gd name="T46" fmla="*/ 217 w 362"/>
                <a:gd name="T47" fmla="*/ 359 h 362"/>
                <a:gd name="T48" fmla="*/ 251 w 362"/>
                <a:gd name="T49" fmla="*/ 348 h 362"/>
                <a:gd name="T50" fmla="*/ 281 w 362"/>
                <a:gd name="T51" fmla="*/ 331 h 362"/>
                <a:gd name="T52" fmla="*/ 308 w 362"/>
                <a:gd name="T53" fmla="*/ 309 h 362"/>
                <a:gd name="T54" fmla="*/ 331 w 362"/>
                <a:gd name="T55" fmla="*/ 282 h 362"/>
                <a:gd name="T56" fmla="*/ 347 w 362"/>
                <a:gd name="T57" fmla="*/ 251 h 362"/>
                <a:gd name="T58" fmla="*/ 358 w 362"/>
                <a:gd name="T59" fmla="*/ 217 h 362"/>
                <a:gd name="T60" fmla="*/ 362 w 362"/>
                <a:gd name="T61" fmla="*/ 182 h 362"/>
                <a:gd name="T62" fmla="*/ 358 w 362"/>
                <a:gd name="T63" fmla="*/ 145 h 362"/>
                <a:gd name="T64" fmla="*/ 347 w 362"/>
                <a:gd name="T65" fmla="*/ 111 h 362"/>
                <a:gd name="T66" fmla="*/ 331 w 362"/>
                <a:gd name="T67" fmla="*/ 80 h 362"/>
                <a:gd name="T68" fmla="*/ 308 w 362"/>
                <a:gd name="T69" fmla="*/ 53 h 362"/>
                <a:gd name="T70" fmla="*/ 281 w 362"/>
                <a:gd name="T71" fmla="*/ 31 h 362"/>
                <a:gd name="T72" fmla="*/ 251 w 362"/>
                <a:gd name="T73" fmla="*/ 14 h 362"/>
                <a:gd name="T74" fmla="*/ 217 w 362"/>
                <a:gd name="T75" fmla="*/ 5 h 362"/>
                <a:gd name="T76" fmla="*/ 181 w 362"/>
                <a:gd name="T77" fmla="*/ 0 h 362"/>
                <a:gd name="T78" fmla="*/ 144 w 362"/>
                <a:gd name="T79" fmla="*/ 5 h 362"/>
                <a:gd name="T80" fmla="*/ 111 w 362"/>
                <a:gd name="T81" fmla="*/ 14 h 362"/>
                <a:gd name="T82" fmla="*/ 80 w 362"/>
                <a:gd name="T83" fmla="*/ 31 h 362"/>
                <a:gd name="T84" fmla="*/ 53 w 362"/>
                <a:gd name="T85" fmla="*/ 53 h 362"/>
                <a:gd name="T86" fmla="*/ 32 w 362"/>
                <a:gd name="T87" fmla="*/ 80 h 362"/>
                <a:gd name="T88" fmla="*/ 14 w 362"/>
                <a:gd name="T89" fmla="*/ 111 h 362"/>
                <a:gd name="T90" fmla="*/ 4 w 362"/>
                <a:gd name="T91" fmla="*/ 145 h 362"/>
                <a:gd name="T92" fmla="*/ 0 w 362"/>
                <a:gd name="T93" fmla="*/ 182 h 362"/>
                <a:gd name="T94" fmla="*/ 4 w 362"/>
                <a:gd name="T95" fmla="*/ 217 h 362"/>
                <a:gd name="T96" fmla="*/ 14 w 362"/>
                <a:gd name="T97" fmla="*/ 251 h 362"/>
                <a:gd name="T98" fmla="*/ 32 w 362"/>
                <a:gd name="T99" fmla="*/ 282 h 362"/>
                <a:gd name="T100" fmla="*/ 53 w 362"/>
                <a:gd name="T101" fmla="*/ 309 h 362"/>
                <a:gd name="T102" fmla="*/ 80 w 362"/>
                <a:gd name="T103" fmla="*/ 331 h 362"/>
                <a:gd name="T104" fmla="*/ 111 w 362"/>
                <a:gd name="T105" fmla="*/ 348 h 362"/>
                <a:gd name="T106" fmla="*/ 144 w 362"/>
                <a:gd name="T107" fmla="*/ 359 h 362"/>
                <a:gd name="T108" fmla="*/ 181 w 362"/>
                <a:gd name="T109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62">
                  <a:moveTo>
                    <a:pt x="166" y="105"/>
                  </a:moveTo>
                  <a:lnTo>
                    <a:pt x="167" y="103"/>
                  </a:lnTo>
                  <a:lnTo>
                    <a:pt x="167" y="100"/>
                  </a:lnTo>
                  <a:lnTo>
                    <a:pt x="169" y="98"/>
                  </a:lnTo>
                  <a:lnTo>
                    <a:pt x="170" y="95"/>
                  </a:lnTo>
                  <a:lnTo>
                    <a:pt x="172" y="94"/>
                  </a:lnTo>
                  <a:lnTo>
                    <a:pt x="175" y="92"/>
                  </a:lnTo>
                  <a:lnTo>
                    <a:pt x="177" y="92"/>
                  </a:lnTo>
                  <a:lnTo>
                    <a:pt x="181" y="90"/>
                  </a:lnTo>
                  <a:lnTo>
                    <a:pt x="184" y="92"/>
                  </a:lnTo>
                  <a:lnTo>
                    <a:pt x="187" y="92"/>
                  </a:lnTo>
                  <a:lnTo>
                    <a:pt x="189" y="94"/>
                  </a:lnTo>
                  <a:lnTo>
                    <a:pt x="191" y="95"/>
                  </a:lnTo>
                  <a:lnTo>
                    <a:pt x="193" y="98"/>
                  </a:lnTo>
                  <a:lnTo>
                    <a:pt x="195" y="100"/>
                  </a:lnTo>
                  <a:lnTo>
                    <a:pt x="196" y="103"/>
                  </a:lnTo>
                  <a:lnTo>
                    <a:pt x="196" y="105"/>
                  </a:lnTo>
                  <a:lnTo>
                    <a:pt x="196" y="181"/>
                  </a:lnTo>
                  <a:lnTo>
                    <a:pt x="241" y="181"/>
                  </a:lnTo>
                  <a:lnTo>
                    <a:pt x="244" y="182"/>
                  </a:lnTo>
                  <a:lnTo>
                    <a:pt x="247" y="183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8"/>
                  </a:lnTo>
                  <a:lnTo>
                    <a:pt x="255" y="190"/>
                  </a:lnTo>
                  <a:lnTo>
                    <a:pt x="256" y="193"/>
                  </a:lnTo>
                  <a:lnTo>
                    <a:pt x="256" y="197"/>
                  </a:lnTo>
                  <a:lnTo>
                    <a:pt x="256" y="199"/>
                  </a:lnTo>
                  <a:lnTo>
                    <a:pt x="255" y="202"/>
                  </a:lnTo>
                  <a:lnTo>
                    <a:pt x="254" y="204"/>
                  </a:lnTo>
                  <a:lnTo>
                    <a:pt x="251" y="206"/>
                  </a:lnTo>
                  <a:lnTo>
                    <a:pt x="249" y="208"/>
                  </a:lnTo>
                  <a:lnTo>
                    <a:pt x="247" y="211"/>
                  </a:lnTo>
                  <a:lnTo>
                    <a:pt x="244" y="211"/>
                  </a:lnTo>
                  <a:lnTo>
                    <a:pt x="241" y="212"/>
                  </a:lnTo>
                  <a:lnTo>
                    <a:pt x="181" y="212"/>
                  </a:lnTo>
                  <a:lnTo>
                    <a:pt x="177" y="211"/>
                  </a:lnTo>
                  <a:lnTo>
                    <a:pt x="175" y="211"/>
                  </a:lnTo>
                  <a:lnTo>
                    <a:pt x="172" y="208"/>
                  </a:lnTo>
                  <a:lnTo>
                    <a:pt x="170" y="206"/>
                  </a:lnTo>
                  <a:lnTo>
                    <a:pt x="169" y="204"/>
                  </a:lnTo>
                  <a:lnTo>
                    <a:pt x="167" y="202"/>
                  </a:lnTo>
                  <a:lnTo>
                    <a:pt x="167" y="199"/>
                  </a:lnTo>
                  <a:lnTo>
                    <a:pt x="166" y="197"/>
                  </a:lnTo>
                  <a:lnTo>
                    <a:pt x="166" y="105"/>
                  </a:lnTo>
                  <a:close/>
                  <a:moveTo>
                    <a:pt x="181" y="362"/>
                  </a:moveTo>
                  <a:lnTo>
                    <a:pt x="200" y="361"/>
                  </a:lnTo>
                  <a:lnTo>
                    <a:pt x="217" y="359"/>
                  </a:lnTo>
                  <a:lnTo>
                    <a:pt x="234" y="353"/>
                  </a:lnTo>
                  <a:lnTo>
                    <a:pt x="251" y="348"/>
                  </a:lnTo>
                  <a:lnTo>
                    <a:pt x="268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1" y="282"/>
                  </a:lnTo>
                  <a:lnTo>
                    <a:pt x="339" y="267"/>
                  </a:lnTo>
                  <a:lnTo>
                    <a:pt x="347" y="251"/>
                  </a:lnTo>
                  <a:lnTo>
                    <a:pt x="353" y="235"/>
                  </a:lnTo>
                  <a:lnTo>
                    <a:pt x="358" y="217"/>
                  </a:lnTo>
                  <a:lnTo>
                    <a:pt x="361" y="200"/>
                  </a:lnTo>
                  <a:lnTo>
                    <a:pt x="362" y="182"/>
                  </a:lnTo>
                  <a:lnTo>
                    <a:pt x="361" y="162"/>
                  </a:lnTo>
                  <a:lnTo>
                    <a:pt x="358" y="145"/>
                  </a:lnTo>
                  <a:lnTo>
                    <a:pt x="353" y="127"/>
                  </a:lnTo>
                  <a:lnTo>
                    <a:pt x="347" y="111"/>
                  </a:lnTo>
                  <a:lnTo>
                    <a:pt x="339" y="95"/>
                  </a:lnTo>
                  <a:lnTo>
                    <a:pt x="331" y="80"/>
                  </a:lnTo>
                  <a:lnTo>
                    <a:pt x="320" y="66"/>
                  </a:lnTo>
                  <a:lnTo>
                    <a:pt x="308" y="53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8" y="22"/>
                  </a:lnTo>
                  <a:lnTo>
                    <a:pt x="251" y="14"/>
                  </a:lnTo>
                  <a:lnTo>
                    <a:pt x="234" y="9"/>
                  </a:lnTo>
                  <a:lnTo>
                    <a:pt x="217" y="5"/>
                  </a:lnTo>
                  <a:lnTo>
                    <a:pt x="200" y="1"/>
                  </a:lnTo>
                  <a:lnTo>
                    <a:pt x="181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7" y="9"/>
                  </a:lnTo>
                  <a:lnTo>
                    <a:pt x="111" y="14"/>
                  </a:lnTo>
                  <a:lnTo>
                    <a:pt x="95" y="22"/>
                  </a:lnTo>
                  <a:lnTo>
                    <a:pt x="80" y="31"/>
                  </a:lnTo>
                  <a:lnTo>
                    <a:pt x="66" y="42"/>
                  </a:lnTo>
                  <a:lnTo>
                    <a:pt x="53" y="53"/>
                  </a:lnTo>
                  <a:lnTo>
                    <a:pt x="41" y="66"/>
                  </a:lnTo>
                  <a:lnTo>
                    <a:pt x="32" y="80"/>
                  </a:lnTo>
                  <a:lnTo>
                    <a:pt x="22" y="95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4" y="145"/>
                  </a:lnTo>
                  <a:lnTo>
                    <a:pt x="2" y="162"/>
                  </a:lnTo>
                  <a:lnTo>
                    <a:pt x="0" y="182"/>
                  </a:lnTo>
                  <a:lnTo>
                    <a:pt x="2" y="200"/>
                  </a:lnTo>
                  <a:lnTo>
                    <a:pt x="4" y="217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2" y="267"/>
                  </a:lnTo>
                  <a:lnTo>
                    <a:pt x="32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6" y="320"/>
                  </a:lnTo>
                  <a:lnTo>
                    <a:pt x="80" y="331"/>
                  </a:lnTo>
                  <a:lnTo>
                    <a:pt x="95" y="340"/>
                  </a:lnTo>
                  <a:lnTo>
                    <a:pt x="111" y="348"/>
                  </a:lnTo>
                  <a:lnTo>
                    <a:pt x="127" y="353"/>
                  </a:lnTo>
                  <a:lnTo>
                    <a:pt x="144" y="359"/>
                  </a:lnTo>
                  <a:lnTo>
                    <a:pt x="162" y="361"/>
                  </a:lnTo>
                  <a:lnTo>
                    <a:pt x="181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32">
              <a:extLst>
                <a:ext uri="{FF2B5EF4-FFF2-40B4-BE49-F238E27FC236}">
                  <a16:creationId xmlns:a16="http://schemas.microsoft.com/office/drawing/2014/main" id="{BD43402D-9E7D-4E9C-98DC-87507F6A6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225" y="2732088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38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8 w 150"/>
                <a:gd name="T11" fmla="*/ 39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8 w 150"/>
                <a:gd name="T21" fmla="*/ 111 h 150"/>
                <a:gd name="T22" fmla="*/ 17 w 150"/>
                <a:gd name="T23" fmla="*/ 123 h 150"/>
                <a:gd name="T24" fmla="*/ 27 w 150"/>
                <a:gd name="T25" fmla="*/ 133 h 150"/>
                <a:gd name="T26" fmla="*/ 38 w 150"/>
                <a:gd name="T27" fmla="*/ 141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0 w 150"/>
                <a:gd name="T37" fmla="*/ 141 h 150"/>
                <a:gd name="T38" fmla="*/ 122 w 150"/>
                <a:gd name="T39" fmla="*/ 133 h 150"/>
                <a:gd name="T40" fmla="*/ 133 w 150"/>
                <a:gd name="T41" fmla="*/ 123 h 150"/>
                <a:gd name="T42" fmla="*/ 140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0 w 150"/>
                <a:gd name="T53" fmla="*/ 39 h 150"/>
                <a:gd name="T54" fmla="*/ 133 w 150"/>
                <a:gd name="T55" fmla="*/ 27 h 150"/>
                <a:gd name="T56" fmla="*/ 122 w 150"/>
                <a:gd name="T57" fmla="*/ 17 h 150"/>
                <a:gd name="T58" fmla="*/ 110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5" y="6"/>
                  </a:lnTo>
                  <a:lnTo>
                    <a:pt x="38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1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8" y="39"/>
                  </a:lnTo>
                  <a:lnTo>
                    <a:pt x="5" y="45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8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1" y="128"/>
                  </a:lnTo>
                  <a:lnTo>
                    <a:pt x="27" y="133"/>
                  </a:lnTo>
                  <a:lnTo>
                    <a:pt x="32" y="138"/>
                  </a:lnTo>
                  <a:lnTo>
                    <a:pt x="38" y="141"/>
                  </a:lnTo>
                  <a:lnTo>
                    <a:pt x="45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4"/>
                  </a:lnTo>
                  <a:lnTo>
                    <a:pt x="110" y="141"/>
                  </a:lnTo>
                  <a:lnTo>
                    <a:pt x="117" y="138"/>
                  </a:lnTo>
                  <a:lnTo>
                    <a:pt x="122" y="133"/>
                  </a:lnTo>
                  <a:lnTo>
                    <a:pt x="127" y="128"/>
                  </a:lnTo>
                  <a:lnTo>
                    <a:pt x="133" y="123"/>
                  </a:lnTo>
                  <a:lnTo>
                    <a:pt x="137" y="117"/>
                  </a:lnTo>
                  <a:lnTo>
                    <a:pt x="140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5"/>
                  </a:lnTo>
                  <a:lnTo>
                    <a:pt x="140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7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0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33">
              <a:extLst>
                <a:ext uri="{FF2B5EF4-FFF2-40B4-BE49-F238E27FC236}">
                  <a16:creationId xmlns:a16="http://schemas.microsoft.com/office/drawing/2014/main" id="{922A9BE5-B035-4BE9-B224-A631D6499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2654300"/>
              <a:ext cx="96838" cy="106363"/>
            </a:xfrm>
            <a:custGeom>
              <a:avLst/>
              <a:gdLst>
                <a:gd name="T0" fmla="*/ 30 w 301"/>
                <a:gd name="T1" fmla="*/ 30 h 331"/>
                <a:gd name="T2" fmla="*/ 250 w 301"/>
                <a:gd name="T3" fmla="*/ 150 h 331"/>
                <a:gd name="T4" fmla="*/ 301 w 301"/>
                <a:gd name="T5" fmla="*/ 165 h 331"/>
                <a:gd name="T6" fmla="*/ 300 w 301"/>
                <a:gd name="T7" fmla="*/ 161 h 331"/>
                <a:gd name="T8" fmla="*/ 300 w 301"/>
                <a:gd name="T9" fmla="*/ 160 h 331"/>
                <a:gd name="T10" fmla="*/ 297 w 301"/>
                <a:gd name="T11" fmla="*/ 155 h 331"/>
                <a:gd name="T12" fmla="*/ 297 w 301"/>
                <a:gd name="T13" fmla="*/ 155 h 331"/>
                <a:gd name="T14" fmla="*/ 144 w 301"/>
                <a:gd name="T15" fmla="*/ 2 h 331"/>
                <a:gd name="T16" fmla="*/ 138 w 301"/>
                <a:gd name="T17" fmla="*/ 0 h 331"/>
                <a:gd name="T18" fmla="*/ 15 w 301"/>
                <a:gd name="T19" fmla="*/ 0 h 331"/>
                <a:gd name="T20" fmla="*/ 10 w 301"/>
                <a:gd name="T21" fmla="*/ 1 h 331"/>
                <a:gd name="T22" fmla="*/ 4 w 301"/>
                <a:gd name="T23" fmla="*/ 4 h 331"/>
                <a:gd name="T24" fmla="*/ 1 w 301"/>
                <a:gd name="T25" fmla="*/ 10 h 331"/>
                <a:gd name="T26" fmla="*/ 0 w 301"/>
                <a:gd name="T27" fmla="*/ 15 h 331"/>
                <a:gd name="T28" fmla="*/ 0 w 301"/>
                <a:gd name="T29" fmla="*/ 316 h 331"/>
                <a:gd name="T30" fmla="*/ 1 w 301"/>
                <a:gd name="T31" fmla="*/ 322 h 331"/>
                <a:gd name="T32" fmla="*/ 4 w 301"/>
                <a:gd name="T33" fmla="*/ 327 h 331"/>
                <a:gd name="T34" fmla="*/ 10 w 301"/>
                <a:gd name="T35" fmla="*/ 330 h 331"/>
                <a:gd name="T36" fmla="*/ 15 w 301"/>
                <a:gd name="T37" fmla="*/ 331 h 331"/>
                <a:gd name="T38" fmla="*/ 31 w 301"/>
                <a:gd name="T39" fmla="*/ 324 h 331"/>
                <a:gd name="T40" fmla="*/ 31 w 301"/>
                <a:gd name="T41" fmla="*/ 306 h 331"/>
                <a:gd name="T42" fmla="*/ 35 w 301"/>
                <a:gd name="T43" fmla="*/ 285 h 331"/>
                <a:gd name="T44" fmla="*/ 43 w 301"/>
                <a:gd name="T45" fmla="*/ 266 h 331"/>
                <a:gd name="T46" fmla="*/ 55 w 301"/>
                <a:gd name="T47" fmla="*/ 249 h 331"/>
                <a:gd name="T48" fmla="*/ 69 w 301"/>
                <a:gd name="T49" fmla="*/ 235 h 331"/>
                <a:gd name="T50" fmla="*/ 86 w 301"/>
                <a:gd name="T51" fmla="*/ 223 h 331"/>
                <a:gd name="T52" fmla="*/ 104 w 301"/>
                <a:gd name="T53" fmla="*/ 215 h 331"/>
                <a:gd name="T54" fmla="*/ 126 w 301"/>
                <a:gd name="T55" fmla="*/ 211 h 331"/>
                <a:gd name="T56" fmla="*/ 147 w 301"/>
                <a:gd name="T57" fmla="*/ 211 h 331"/>
                <a:gd name="T58" fmla="*/ 167 w 301"/>
                <a:gd name="T59" fmla="*/ 215 h 331"/>
                <a:gd name="T60" fmla="*/ 186 w 301"/>
                <a:gd name="T61" fmla="*/ 223 h 331"/>
                <a:gd name="T62" fmla="*/ 203 w 301"/>
                <a:gd name="T63" fmla="*/ 235 h 331"/>
                <a:gd name="T64" fmla="*/ 217 w 301"/>
                <a:gd name="T65" fmla="*/ 249 h 331"/>
                <a:gd name="T66" fmla="*/ 229 w 301"/>
                <a:gd name="T67" fmla="*/ 266 h 331"/>
                <a:gd name="T68" fmla="*/ 236 w 301"/>
                <a:gd name="T69" fmla="*/ 285 h 331"/>
                <a:gd name="T70" fmla="*/ 240 w 301"/>
                <a:gd name="T71" fmla="*/ 306 h 331"/>
                <a:gd name="T72" fmla="*/ 241 w 301"/>
                <a:gd name="T73" fmla="*/ 324 h 331"/>
                <a:gd name="T74" fmla="*/ 286 w 301"/>
                <a:gd name="T75" fmla="*/ 331 h 331"/>
                <a:gd name="T76" fmla="*/ 292 w 301"/>
                <a:gd name="T77" fmla="*/ 330 h 331"/>
                <a:gd name="T78" fmla="*/ 297 w 301"/>
                <a:gd name="T79" fmla="*/ 327 h 331"/>
                <a:gd name="T80" fmla="*/ 300 w 301"/>
                <a:gd name="T81" fmla="*/ 322 h 331"/>
                <a:gd name="T82" fmla="*/ 301 w 301"/>
                <a:gd name="T83" fmla="*/ 316 h 331"/>
                <a:gd name="T84" fmla="*/ 301 w 301"/>
                <a:gd name="T85" fmla="*/ 1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31">
                  <a:moveTo>
                    <a:pt x="30" y="150"/>
                  </a:moveTo>
                  <a:lnTo>
                    <a:pt x="30" y="30"/>
                  </a:lnTo>
                  <a:lnTo>
                    <a:pt x="130" y="30"/>
                  </a:lnTo>
                  <a:lnTo>
                    <a:pt x="250" y="150"/>
                  </a:lnTo>
                  <a:lnTo>
                    <a:pt x="30" y="150"/>
                  </a:lnTo>
                  <a:close/>
                  <a:moveTo>
                    <a:pt x="301" y="165"/>
                  </a:moveTo>
                  <a:lnTo>
                    <a:pt x="300" y="163"/>
                  </a:lnTo>
                  <a:lnTo>
                    <a:pt x="300" y="161"/>
                  </a:lnTo>
                  <a:lnTo>
                    <a:pt x="300" y="160"/>
                  </a:lnTo>
                  <a:lnTo>
                    <a:pt x="300" y="160"/>
                  </a:lnTo>
                  <a:lnTo>
                    <a:pt x="298" y="156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147" y="4"/>
                  </a:lnTo>
                  <a:lnTo>
                    <a:pt x="144" y="2"/>
                  </a:lnTo>
                  <a:lnTo>
                    <a:pt x="142" y="1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316"/>
                  </a:lnTo>
                  <a:lnTo>
                    <a:pt x="1" y="320"/>
                  </a:lnTo>
                  <a:lnTo>
                    <a:pt x="1" y="322"/>
                  </a:lnTo>
                  <a:lnTo>
                    <a:pt x="3" y="325"/>
                  </a:lnTo>
                  <a:lnTo>
                    <a:pt x="4" y="327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2" y="331"/>
                  </a:lnTo>
                  <a:lnTo>
                    <a:pt x="15" y="331"/>
                  </a:lnTo>
                  <a:lnTo>
                    <a:pt x="31" y="331"/>
                  </a:lnTo>
                  <a:lnTo>
                    <a:pt x="31" y="324"/>
                  </a:lnTo>
                  <a:lnTo>
                    <a:pt x="30" y="316"/>
                  </a:lnTo>
                  <a:lnTo>
                    <a:pt x="31" y="306"/>
                  </a:lnTo>
                  <a:lnTo>
                    <a:pt x="32" y="295"/>
                  </a:lnTo>
                  <a:lnTo>
                    <a:pt x="35" y="285"/>
                  </a:lnTo>
                  <a:lnTo>
                    <a:pt x="39" y="276"/>
                  </a:lnTo>
                  <a:lnTo>
                    <a:pt x="43" y="266"/>
                  </a:lnTo>
                  <a:lnTo>
                    <a:pt x="48" y="257"/>
                  </a:lnTo>
                  <a:lnTo>
                    <a:pt x="55" y="249"/>
                  </a:lnTo>
                  <a:lnTo>
                    <a:pt x="61" y="241"/>
                  </a:lnTo>
                  <a:lnTo>
                    <a:pt x="69" y="235"/>
                  </a:lnTo>
                  <a:lnTo>
                    <a:pt x="77" y="228"/>
                  </a:lnTo>
                  <a:lnTo>
                    <a:pt x="86" y="223"/>
                  </a:lnTo>
                  <a:lnTo>
                    <a:pt x="94" y="219"/>
                  </a:lnTo>
                  <a:lnTo>
                    <a:pt x="104" y="215"/>
                  </a:lnTo>
                  <a:lnTo>
                    <a:pt x="115" y="213"/>
                  </a:lnTo>
                  <a:lnTo>
                    <a:pt x="126" y="211"/>
                  </a:lnTo>
                  <a:lnTo>
                    <a:pt x="136" y="211"/>
                  </a:lnTo>
                  <a:lnTo>
                    <a:pt x="147" y="211"/>
                  </a:lnTo>
                  <a:lnTo>
                    <a:pt x="157" y="213"/>
                  </a:lnTo>
                  <a:lnTo>
                    <a:pt x="167" y="215"/>
                  </a:lnTo>
                  <a:lnTo>
                    <a:pt x="177" y="219"/>
                  </a:lnTo>
                  <a:lnTo>
                    <a:pt x="186" y="223"/>
                  </a:lnTo>
                  <a:lnTo>
                    <a:pt x="194" y="228"/>
                  </a:lnTo>
                  <a:lnTo>
                    <a:pt x="203" y="235"/>
                  </a:lnTo>
                  <a:lnTo>
                    <a:pt x="210" y="241"/>
                  </a:lnTo>
                  <a:lnTo>
                    <a:pt x="217" y="249"/>
                  </a:lnTo>
                  <a:lnTo>
                    <a:pt x="223" y="257"/>
                  </a:lnTo>
                  <a:lnTo>
                    <a:pt x="229" y="266"/>
                  </a:lnTo>
                  <a:lnTo>
                    <a:pt x="233" y="276"/>
                  </a:lnTo>
                  <a:lnTo>
                    <a:pt x="236" y="285"/>
                  </a:lnTo>
                  <a:lnTo>
                    <a:pt x="239" y="295"/>
                  </a:lnTo>
                  <a:lnTo>
                    <a:pt x="240" y="306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0" y="331"/>
                  </a:lnTo>
                  <a:lnTo>
                    <a:pt x="286" y="331"/>
                  </a:lnTo>
                  <a:lnTo>
                    <a:pt x="290" y="330"/>
                  </a:lnTo>
                  <a:lnTo>
                    <a:pt x="292" y="330"/>
                  </a:lnTo>
                  <a:lnTo>
                    <a:pt x="295" y="328"/>
                  </a:lnTo>
                  <a:lnTo>
                    <a:pt x="297" y="327"/>
                  </a:lnTo>
                  <a:lnTo>
                    <a:pt x="299" y="325"/>
                  </a:lnTo>
                  <a:lnTo>
                    <a:pt x="300" y="322"/>
                  </a:lnTo>
                  <a:lnTo>
                    <a:pt x="301" y="320"/>
                  </a:lnTo>
                  <a:lnTo>
                    <a:pt x="301" y="316"/>
                  </a:lnTo>
                  <a:lnTo>
                    <a:pt x="301" y="165"/>
                  </a:lnTo>
                  <a:lnTo>
                    <a:pt x="301" y="165"/>
                  </a:lnTo>
                  <a:lnTo>
                    <a:pt x="301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34">
              <a:extLst>
                <a:ext uri="{FF2B5EF4-FFF2-40B4-BE49-F238E27FC236}">
                  <a16:creationId xmlns:a16="http://schemas.microsoft.com/office/drawing/2014/main" id="{AE4B17A5-F296-4E67-A197-56215DF0B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288" y="2732088"/>
              <a:ext cx="49213" cy="47625"/>
            </a:xfrm>
            <a:custGeom>
              <a:avLst/>
              <a:gdLst>
                <a:gd name="T0" fmla="*/ 68 w 151"/>
                <a:gd name="T1" fmla="*/ 0 h 150"/>
                <a:gd name="T2" fmla="*/ 54 w 151"/>
                <a:gd name="T3" fmla="*/ 3 h 150"/>
                <a:gd name="T4" fmla="*/ 40 w 151"/>
                <a:gd name="T5" fmla="*/ 9 h 150"/>
                <a:gd name="T6" fmla="*/ 28 w 151"/>
                <a:gd name="T7" fmla="*/ 17 h 150"/>
                <a:gd name="T8" fmla="*/ 17 w 151"/>
                <a:gd name="T9" fmla="*/ 27 h 150"/>
                <a:gd name="T10" fmla="*/ 10 w 151"/>
                <a:gd name="T11" fmla="*/ 39 h 150"/>
                <a:gd name="T12" fmla="*/ 4 w 151"/>
                <a:gd name="T13" fmla="*/ 53 h 150"/>
                <a:gd name="T14" fmla="*/ 1 w 151"/>
                <a:gd name="T15" fmla="*/ 68 h 150"/>
                <a:gd name="T16" fmla="*/ 1 w 151"/>
                <a:gd name="T17" fmla="*/ 83 h 150"/>
                <a:gd name="T18" fmla="*/ 4 w 151"/>
                <a:gd name="T19" fmla="*/ 98 h 150"/>
                <a:gd name="T20" fmla="*/ 10 w 151"/>
                <a:gd name="T21" fmla="*/ 111 h 150"/>
                <a:gd name="T22" fmla="*/ 17 w 151"/>
                <a:gd name="T23" fmla="*/ 123 h 150"/>
                <a:gd name="T24" fmla="*/ 28 w 151"/>
                <a:gd name="T25" fmla="*/ 133 h 150"/>
                <a:gd name="T26" fmla="*/ 40 w 151"/>
                <a:gd name="T27" fmla="*/ 141 h 150"/>
                <a:gd name="T28" fmla="*/ 54 w 151"/>
                <a:gd name="T29" fmla="*/ 147 h 150"/>
                <a:gd name="T30" fmla="*/ 68 w 151"/>
                <a:gd name="T31" fmla="*/ 150 h 150"/>
                <a:gd name="T32" fmla="*/ 84 w 151"/>
                <a:gd name="T33" fmla="*/ 150 h 150"/>
                <a:gd name="T34" fmla="*/ 98 w 151"/>
                <a:gd name="T35" fmla="*/ 147 h 150"/>
                <a:gd name="T36" fmla="*/ 112 w 151"/>
                <a:gd name="T37" fmla="*/ 141 h 150"/>
                <a:gd name="T38" fmla="*/ 124 w 151"/>
                <a:gd name="T39" fmla="*/ 133 h 150"/>
                <a:gd name="T40" fmla="*/ 134 w 151"/>
                <a:gd name="T41" fmla="*/ 123 h 150"/>
                <a:gd name="T42" fmla="*/ 142 w 151"/>
                <a:gd name="T43" fmla="*/ 111 h 150"/>
                <a:gd name="T44" fmla="*/ 148 w 151"/>
                <a:gd name="T45" fmla="*/ 98 h 150"/>
                <a:gd name="T46" fmla="*/ 150 w 151"/>
                <a:gd name="T47" fmla="*/ 83 h 150"/>
                <a:gd name="T48" fmla="*/ 150 w 151"/>
                <a:gd name="T49" fmla="*/ 68 h 150"/>
                <a:gd name="T50" fmla="*/ 148 w 151"/>
                <a:gd name="T51" fmla="*/ 53 h 150"/>
                <a:gd name="T52" fmla="*/ 142 w 151"/>
                <a:gd name="T53" fmla="*/ 39 h 150"/>
                <a:gd name="T54" fmla="*/ 134 w 151"/>
                <a:gd name="T55" fmla="*/ 27 h 150"/>
                <a:gd name="T56" fmla="*/ 124 w 151"/>
                <a:gd name="T57" fmla="*/ 17 h 150"/>
                <a:gd name="T58" fmla="*/ 112 w 151"/>
                <a:gd name="T59" fmla="*/ 9 h 150"/>
                <a:gd name="T60" fmla="*/ 98 w 151"/>
                <a:gd name="T61" fmla="*/ 3 h 150"/>
                <a:gd name="T62" fmla="*/ 84 w 151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0">
                  <a:moveTo>
                    <a:pt x="76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5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4" y="98"/>
                  </a:lnTo>
                  <a:lnTo>
                    <a:pt x="7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3"/>
                  </a:lnTo>
                  <a:lnTo>
                    <a:pt x="33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0"/>
                  </a:ln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3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7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5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3"/>
                  </a:lnTo>
                  <a:lnTo>
                    <a:pt x="91" y="1"/>
                  </a:lnTo>
                  <a:lnTo>
                    <a:pt x="84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D15DF590-B068-497B-9BD9-EA37C5B68852}"/>
              </a:ext>
            </a:extLst>
          </p:cNvPr>
          <p:cNvGrpSpPr/>
          <p:nvPr/>
        </p:nvGrpSpPr>
        <p:grpSpPr>
          <a:xfrm>
            <a:off x="10043308" y="2389046"/>
            <a:ext cx="215881" cy="187256"/>
            <a:chOff x="3171825" y="2530475"/>
            <a:chExt cx="287338" cy="249238"/>
          </a:xfrm>
          <a:solidFill>
            <a:schemeClr val="bg1"/>
          </a:solidFill>
        </p:grpSpPr>
        <p:sp>
          <p:nvSpPr>
            <p:cNvPr id="188" name="Freeform 535">
              <a:extLst>
                <a:ext uri="{FF2B5EF4-FFF2-40B4-BE49-F238E27FC236}">
                  <a16:creationId xmlns:a16="http://schemas.microsoft.com/office/drawing/2014/main" id="{BD6792E0-34EB-4474-A447-07DA8B31F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0400" y="2640013"/>
              <a:ext cx="230188" cy="139700"/>
            </a:xfrm>
            <a:custGeom>
              <a:avLst/>
              <a:gdLst>
                <a:gd name="T0" fmla="*/ 481 w 722"/>
                <a:gd name="T1" fmla="*/ 407 h 437"/>
                <a:gd name="T2" fmla="*/ 632 w 722"/>
                <a:gd name="T3" fmla="*/ 106 h 437"/>
                <a:gd name="T4" fmla="*/ 361 w 722"/>
                <a:gd name="T5" fmla="*/ 287 h 437"/>
                <a:gd name="T6" fmla="*/ 90 w 722"/>
                <a:gd name="T7" fmla="*/ 106 h 437"/>
                <a:gd name="T8" fmla="*/ 361 w 722"/>
                <a:gd name="T9" fmla="*/ 287 h 437"/>
                <a:gd name="T10" fmla="*/ 584 w 722"/>
                <a:gd name="T11" fmla="*/ 10 h 437"/>
                <a:gd name="T12" fmla="*/ 555 w 722"/>
                <a:gd name="T13" fmla="*/ 28 h 437"/>
                <a:gd name="T14" fmla="*/ 523 w 722"/>
                <a:gd name="T15" fmla="*/ 39 h 437"/>
                <a:gd name="T16" fmla="*/ 487 w 722"/>
                <a:gd name="T17" fmla="*/ 45 h 437"/>
                <a:gd name="T18" fmla="*/ 450 w 722"/>
                <a:gd name="T19" fmla="*/ 46 h 437"/>
                <a:gd name="T20" fmla="*/ 418 w 722"/>
                <a:gd name="T21" fmla="*/ 42 h 437"/>
                <a:gd name="T22" fmla="*/ 388 w 722"/>
                <a:gd name="T23" fmla="*/ 33 h 437"/>
                <a:gd name="T24" fmla="*/ 360 w 722"/>
                <a:gd name="T25" fmla="*/ 22 h 437"/>
                <a:gd name="T26" fmla="*/ 336 w 722"/>
                <a:gd name="T27" fmla="*/ 22 h 437"/>
                <a:gd name="T28" fmla="*/ 312 w 722"/>
                <a:gd name="T29" fmla="*/ 34 h 437"/>
                <a:gd name="T30" fmla="*/ 285 w 722"/>
                <a:gd name="T31" fmla="*/ 42 h 437"/>
                <a:gd name="T32" fmla="*/ 256 w 722"/>
                <a:gd name="T33" fmla="*/ 46 h 437"/>
                <a:gd name="T34" fmla="*/ 223 w 722"/>
                <a:gd name="T35" fmla="*/ 45 h 437"/>
                <a:gd name="T36" fmla="*/ 188 w 722"/>
                <a:gd name="T37" fmla="*/ 39 h 437"/>
                <a:gd name="T38" fmla="*/ 159 w 722"/>
                <a:gd name="T39" fmla="*/ 28 h 437"/>
                <a:gd name="T40" fmla="*/ 135 w 722"/>
                <a:gd name="T41" fmla="*/ 10 h 437"/>
                <a:gd name="T42" fmla="*/ 110 w 722"/>
                <a:gd name="T43" fmla="*/ 4 h 437"/>
                <a:gd name="T44" fmla="*/ 83 w 722"/>
                <a:gd name="T45" fmla="*/ 10 h 437"/>
                <a:gd name="T46" fmla="*/ 48 w 722"/>
                <a:gd name="T47" fmla="*/ 15 h 437"/>
                <a:gd name="T48" fmla="*/ 15 w 722"/>
                <a:gd name="T49" fmla="*/ 15 h 437"/>
                <a:gd name="T50" fmla="*/ 0 w 722"/>
                <a:gd name="T51" fmla="*/ 422 h 437"/>
                <a:gd name="T52" fmla="*/ 1 w 722"/>
                <a:gd name="T53" fmla="*/ 428 h 437"/>
                <a:gd name="T54" fmla="*/ 4 w 722"/>
                <a:gd name="T55" fmla="*/ 433 h 437"/>
                <a:gd name="T56" fmla="*/ 9 w 722"/>
                <a:gd name="T57" fmla="*/ 436 h 437"/>
                <a:gd name="T58" fmla="*/ 15 w 722"/>
                <a:gd name="T59" fmla="*/ 437 h 437"/>
                <a:gd name="T60" fmla="*/ 647 w 722"/>
                <a:gd name="T61" fmla="*/ 437 h 437"/>
                <a:gd name="T62" fmla="*/ 711 w 722"/>
                <a:gd name="T63" fmla="*/ 437 h 437"/>
                <a:gd name="T64" fmla="*/ 716 w 722"/>
                <a:gd name="T65" fmla="*/ 435 h 437"/>
                <a:gd name="T66" fmla="*/ 720 w 722"/>
                <a:gd name="T67" fmla="*/ 431 h 437"/>
                <a:gd name="T68" fmla="*/ 722 w 722"/>
                <a:gd name="T69" fmla="*/ 426 h 437"/>
                <a:gd name="T70" fmla="*/ 722 w 722"/>
                <a:gd name="T71" fmla="*/ 9 h 437"/>
                <a:gd name="T72" fmla="*/ 700 w 722"/>
                <a:gd name="T73" fmla="*/ 14 h 437"/>
                <a:gd name="T74" fmla="*/ 677 w 722"/>
                <a:gd name="T75" fmla="*/ 16 h 437"/>
                <a:gd name="T76" fmla="*/ 636 w 722"/>
                <a:gd name="T77" fmla="*/ 12 h 437"/>
                <a:gd name="T78" fmla="*/ 597 w 722"/>
                <a:gd name="T79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2" h="437">
                  <a:moveTo>
                    <a:pt x="632" y="407"/>
                  </a:moveTo>
                  <a:lnTo>
                    <a:pt x="481" y="407"/>
                  </a:lnTo>
                  <a:lnTo>
                    <a:pt x="481" y="106"/>
                  </a:lnTo>
                  <a:lnTo>
                    <a:pt x="632" y="106"/>
                  </a:lnTo>
                  <a:lnTo>
                    <a:pt x="632" y="407"/>
                  </a:lnTo>
                  <a:close/>
                  <a:moveTo>
                    <a:pt x="361" y="287"/>
                  </a:moveTo>
                  <a:lnTo>
                    <a:pt x="90" y="287"/>
                  </a:lnTo>
                  <a:lnTo>
                    <a:pt x="90" y="106"/>
                  </a:lnTo>
                  <a:lnTo>
                    <a:pt x="361" y="106"/>
                  </a:lnTo>
                  <a:lnTo>
                    <a:pt x="361" y="287"/>
                  </a:lnTo>
                  <a:close/>
                  <a:moveTo>
                    <a:pt x="597" y="0"/>
                  </a:moveTo>
                  <a:lnTo>
                    <a:pt x="584" y="10"/>
                  </a:lnTo>
                  <a:lnTo>
                    <a:pt x="570" y="20"/>
                  </a:lnTo>
                  <a:lnTo>
                    <a:pt x="555" y="28"/>
                  </a:lnTo>
                  <a:lnTo>
                    <a:pt x="540" y="34"/>
                  </a:lnTo>
                  <a:lnTo>
                    <a:pt x="523" y="39"/>
                  </a:lnTo>
                  <a:lnTo>
                    <a:pt x="505" y="43"/>
                  </a:lnTo>
                  <a:lnTo>
                    <a:pt x="487" y="45"/>
                  </a:lnTo>
                  <a:lnTo>
                    <a:pt x="466" y="46"/>
                  </a:lnTo>
                  <a:lnTo>
                    <a:pt x="450" y="46"/>
                  </a:lnTo>
                  <a:lnTo>
                    <a:pt x="434" y="44"/>
                  </a:lnTo>
                  <a:lnTo>
                    <a:pt x="418" y="42"/>
                  </a:lnTo>
                  <a:lnTo>
                    <a:pt x="403" y="38"/>
                  </a:lnTo>
                  <a:lnTo>
                    <a:pt x="388" y="33"/>
                  </a:lnTo>
                  <a:lnTo>
                    <a:pt x="374" y="29"/>
                  </a:lnTo>
                  <a:lnTo>
                    <a:pt x="360" y="22"/>
                  </a:lnTo>
                  <a:lnTo>
                    <a:pt x="347" y="15"/>
                  </a:lnTo>
                  <a:lnTo>
                    <a:pt x="336" y="22"/>
                  </a:lnTo>
                  <a:lnTo>
                    <a:pt x="325" y="29"/>
                  </a:lnTo>
                  <a:lnTo>
                    <a:pt x="312" y="34"/>
                  </a:lnTo>
                  <a:lnTo>
                    <a:pt x="299" y="38"/>
                  </a:lnTo>
                  <a:lnTo>
                    <a:pt x="285" y="42"/>
                  </a:lnTo>
                  <a:lnTo>
                    <a:pt x="271" y="44"/>
                  </a:lnTo>
                  <a:lnTo>
                    <a:pt x="256" y="46"/>
                  </a:lnTo>
                  <a:lnTo>
                    <a:pt x="241" y="46"/>
                  </a:lnTo>
                  <a:lnTo>
                    <a:pt x="223" y="45"/>
                  </a:lnTo>
                  <a:lnTo>
                    <a:pt x="204" y="43"/>
                  </a:lnTo>
                  <a:lnTo>
                    <a:pt x="188" y="39"/>
                  </a:lnTo>
                  <a:lnTo>
                    <a:pt x="173" y="35"/>
                  </a:lnTo>
                  <a:lnTo>
                    <a:pt x="159" y="28"/>
                  </a:lnTo>
                  <a:lnTo>
                    <a:pt x="147" y="20"/>
                  </a:lnTo>
                  <a:lnTo>
                    <a:pt x="135" y="10"/>
                  </a:lnTo>
                  <a:lnTo>
                    <a:pt x="123" y="0"/>
                  </a:lnTo>
                  <a:lnTo>
                    <a:pt x="110" y="4"/>
                  </a:lnTo>
                  <a:lnTo>
                    <a:pt x="96" y="7"/>
                  </a:lnTo>
                  <a:lnTo>
                    <a:pt x="83" y="10"/>
                  </a:lnTo>
                  <a:lnTo>
                    <a:pt x="70" y="13"/>
                  </a:lnTo>
                  <a:lnTo>
                    <a:pt x="48" y="15"/>
                  </a:lnTo>
                  <a:lnTo>
                    <a:pt x="30" y="16"/>
                  </a:lnTo>
                  <a:lnTo>
                    <a:pt x="15" y="15"/>
                  </a:lnTo>
                  <a:lnTo>
                    <a:pt x="0" y="13"/>
                  </a:lnTo>
                  <a:lnTo>
                    <a:pt x="0" y="422"/>
                  </a:lnTo>
                  <a:lnTo>
                    <a:pt x="1" y="426"/>
                  </a:lnTo>
                  <a:lnTo>
                    <a:pt x="1" y="428"/>
                  </a:lnTo>
                  <a:lnTo>
                    <a:pt x="3" y="431"/>
                  </a:lnTo>
                  <a:lnTo>
                    <a:pt x="4" y="433"/>
                  </a:lnTo>
                  <a:lnTo>
                    <a:pt x="6" y="435"/>
                  </a:lnTo>
                  <a:lnTo>
                    <a:pt x="9" y="436"/>
                  </a:lnTo>
                  <a:lnTo>
                    <a:pt x="11" y="437"/>
                  </a:lnTo>
                  <a:lnTo>
                    <a:pt x="15" y="437"/>
                  </a:lnTo>
                  <a:lnTo>
                    <a:pt x="466" y="437"/>
                  </a:lnTo>
                  <a:lnTo>
                    <a:pt x="647" y="437"/>
                  </a:lnTo>
                  <a:lnTo>
                    <a:pt x="707" y="437"/>
                  </a:lnTo>
                  <a:lnTo>
                    <a:pt x="711" y="437"/>
                  </a:lnTo>
                  <a:lnTo>
                    <a:pt x="713" y="436"/>
                  </a:lnTo>
                  <a:lnTo>
                    <a:pt x="716" y="435"/>
                  </a:lnTo>
                  <a:lnTo>
                    <a:pt x="718" y="433"/>
                  </a:lnTo>
                  <a:lnTo>
                    <a:pt x="720" y="431"/>
                  </a:lnTo>
                  <a:lnTo>
                    <a:pt x="721" y="428"/>
                  </a:lnTo>
                  <a:lnTo>
                    <a:pt x="722" y="426"/>
                  </a:lnTo>
                  <a:lnTo>
                    <a:pt x="722" y="422"/>
                  </a:lnTo>
                  <a:lnTo>
                    <a:pt x="722" y="9"/>
                  </a:lnTo>
                  <a:lnTo>
                    <a:pt x="712" y="12"/>
                  </a:lnTo>
                  <a:lnTo>
                    <a:pt x="700" y="14"/>
                  </a:lnTo>
                  <a:lnTo>
                    <a:pt x="689" y="16"/>
                  </a:lnTo>
                  <a:lnTo>
                    <a:pt x="677" y="16"/>
                  </a:lnTo>
                  <a:lnTo>
                    <a:pt x="656" y="15"/>
                  </a:lnTo>
                  <a:lnTo>
                    <a:pt x="636" y="12"/>
                  </a:lnTo>
                  <a:lnTo>
                    <a:pt x="615" y="6"/>
                  </a:lnTo>
                  <a:lnTo>
                    <a:pt x="597" y="0"/>
                  </a:lnTo>
                  <a:lnTo>
                    <a:pt x="5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36">
              <a:extLst>
                <a:ext uri="{FF2B5EF4-FFF2-40B4-BE49-F238E27FC236}">
                  <a16:creationId xmlns:a16="http://schemas.microsoft.com/office/drawing/2014/main" id="{7BB4520C-BB13-4668-8D28-815E832C0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88" y="2587625"/>
              <a:ext cx="66675" cy="47625"/>
            </a:xfrm>
            <a:custGeom>
              <a:avLst/>
              <a:gdLst>
                <a:gd name="T0" fmla="*/ 196 w 211"/>
                <a:gd name="T1" fmla="*/ 0 h 151"/>
                <a:gd name="T2" fmla="*/ 181 w 211"/>
                <a:gd name="T3" fmla="*/ 0 h 151"/>
                <a:gd name="T4" fmla="*/ 0 w 211"/>
                <a:gd name="T5" fmla="*/ 0 h 151"/>
                <a:gd name="T6" fmla="*/ 0 w 211"/>
                <a:gd name="T7" fmla="*/ 134 h 151"/>
                <a:gd name="T8" fmla="*/ 11 w 211"/>
                <a:gd name="T9" fmla="*/ 139 h 151"/>
                <a:gd name="T10" fmla="*/ 23 w 211"/>
                <a:gd name="T11" fmla="*/ 143 h 151"/>
                <a:gd name="T12" fmla="*/ 34 w 211"/>
                <a:gd name="T13" fmla="*/ 145 h 151"/>
                <a:gd name="T14" fmla="*/ 44 w 211"/>
                <a:gd name="T15" fmla="*/ 148 h 151"/>
                <a:gd name="T16" fmla="*/ 63 w 211"/>
                <a:gd name="T17" fmla="*/ 150 h 151"/>
                <a:gd name="T18" fmla="*/ 75 w 211"/>
                <a:gd name="T19" fmla="*/ 151 h 151"/>
                <a:gd name="T20" fmla="*/ 87 w 211"/>
                <a:gd name="T21" fmla="*/ 150 h 151"/>
                <a:gd name="T22" fmla="*/ 98 w 211"/>
                <a:gd name="T23" fmla="*/ 149 h 151"/>
                <a:gd name="T24" fmla="*/ 110 w 211"/>
                <a:gd name="T25" fmla="*/ 145 h 151"/>
                <a:gd name="T26" fmla="*/ 120 w 211"/>
                <a:gd name="T27" fmla="*/ 142 h 151"/>
                <a:gd name="T28" fmla="*/ 120 w 211"/>
                <a:gd name="T29" fmla="*/ 142 h 151"/>
                <a:gd name="T30" fmla="*/ 130 w 211"/>
                <a:gd name="T31" fmla="*/ 138 h 151"/>
                <a:gd name="T32" fmla="*/ 139 w 211"/>
                <a:gd name="T33" fmla="*/ 133 h 151"/>
                <a:gd name="T34" fmla="*/ 147 w 211"/>
                <a:gd name="T35" fmla="*/ 127 h 151"/>
                <a:gd name="T36" fmla="*/ 156 w 211"/>
                <a:gd name="T37" fmla="*/ 122 h 151"/>
                <a:gd name="T38" fmla="*/ 163 w 211"/>
                <a:gd name="T39" fmla="*/ 114 h 151"/>
                <a:gd name="T40" fmla="*/ 171 w 211"/>
                <a:gd name="T41" fmla="*/ 108 h 151"/>
                <a:gd name="T42" fmla="*/ 178 w 211"/>
                <a:gd name="T43" fmla="*/ 100 h 151"/>
                <a:gd name="T44" fmla="*/ 185 w 211"/>
                <a:gd name="T45" fmla="*/ 92 h 151"/>
                <a:gd name="T46" fmla="*/ 190 w 211"/>
                <a:gd name="T47" fmla="*/ 83 h 151"/>
                <a:gd name="T48" fmla="*/ 196 w 211"/>
                <a:gd name="T49" fmla="*/ 75 h 151"/>
                <a:gd name="T50" fmla="*/ 200 w 211"/>
                <a:gd name="T51" fmla="*/ 65 h 151"/>
                <a:gd name="T52" fmla="*/ 204 w 211"/>
                <a:gd name="T53" fmla="*/ 55 h 151"/>
                <a:gd name="T54" fmla="*/ 206 w 211"/>
                <a:gd name="T55" fmla="*/ 46 h 151"/>
                <a:gd name="T56" fmla="*/ 208 w 211"/>
                <a:gd name="T57" fmla="*/ 36 h 151"/>
                <a:gd name="T58" fmla="*/ 211 w 211"/>
                <a:gd name="T59" fmla="*/ 25 h 151"/>
                <a:gd name="T60" fmla="*/ 211 w 211"/>
                <a:gd name="T61" fmla="*/ 16 h 151"/>
                <a:gd name="T62" fmla="*/ 211 w 211"/>
                <a:gd name="T63" fmla="*/ 0 h 151"/>
                <a:gd name="T64" fmla="*/ 196 w 211"/>
                <a:gd name="T6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151">
                  <a:moveTo>
                    <a:pt x="196" y="0"/>
                  </a:moveTo>
                  <a:lnTo>
                    <a:pt x="181" y="0"/>
                  </a:lnTo>
                  <a:lnTo>
                    <a:pt x="0" y="0"/>
                  </a:lnTo>
                  <a:lnTo>
                    <a:pt x="0" y="134"/>
                  </a:lnTo>
                  <a:lnTo>
                    <a:pt x="11" y="139"/>
                  </a:lnTo>
                  <a:lnTo>
                    <a:pt x="23" y="143"/>
                  </a:lnTo>
                  <a:lnTo>
                    <a:pt x="34" y="145"/>
                  </a:lnTo>
                  <a:lnTo>
                    <a:pt x="44" y="148"/>
                  </a:lnTo>
                  <a:lnTo>
                    <a:pt x="63" y="150"/>
                  </a:lnTo>
                  <a:lnTo>
                    <a:pt x="75" y="151"/>
                  </a:lnTo>
                  <a:lnTo>
                    <a:pt x="87" y="150"/>
                  </a:lnTo>
                  <a:lnTo>
                    <a:pt x="98" y="149"/>
                  </a:lnTo>
                  <a:lnTo>
                    <a:pt x="110" y="145"/>
                  </a:lnTo>
                  <a:lnTo>
                    <a:pt x="120" y="142"/>
                  </a:lnTo>
                  <a:lnTo>
                    <a:pt x="120" y="142"/>
                  </a:lnTo>
                  <a:lnTo>
                    <a:pt x="130" y="138"/>
                  </a:lnTo>
                  <a:lnTo>
                    <a:pt x="139" y="133"/>
                  </a:lnTo>
                  <a:lnTo>
                    <a:pt x="147" y="127"/>
                  </a:lnTo>
                  <a:lnTo>
                    <a:pt x="156" y="122"/>
                  </a:lnTo>
                  <a:lnTo>
                    <a:pt x="163" y="114"/>
                  </a:lnTo>
                  <a:lnTo>
                    <a:pt x="171" y="108"/>
                  </a:lnTo>
                  <a:lnTo>
                    <a:pt x="178" y="100"/>
                  </a:lnTo>
                  <a:lnTo>
                    <a:pt x="185" y="92"/>
                  </a:lnTo>
                  <a:lnTo>
                    <a:pt x="190" y="83"/>
                  </a:lnTo>
                  <a:lnTo>
                    <a:pt x="196" y="75"/>
                  </a:lnTo>
                  <a:lnTo>
                    <a:pt x="200" y="65"/>
                  </a:lnTo>
                  <a:lnTo>
                    <a:pt x="204" y="55"/>
                  </a:lnTo>
                  <a:lnTo>
                    <a:pt x="206" y="46"/>
                  </a:lnTo>
                  <a:lnTo>
                    <a:pt x="208" y="36"/>
                  </a:lnTo>
                  <a:lnTo>
                    <a:pt x="211" y="25"/>
                  </a:lnTo>
                  <a:lnTo>
                    <a:pt x="211" y="16"/>
                  </a:lnTo>
                  <a:lnTo>
                    <a:pt x="211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37">
              <a:extLst>
                <a:ext uri="{FF2B5EF4-FFF2-40B4-BE49-F238E27FC236}">
                  <a16:creationId xmlns:a16="http://schemas.microsoft.com/office/drawing/2014/main" id="{D457F44E-10E9-4D1E-BAC7-AD92073A8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2587625"/>
              <a:ext cx="66675" cy="57150"/>
            </a:xfrm>
            <a:custGeom>
              <a:avLst/>
              <a:gdLst>
                <a:gd name="T0" fmla="*/ 213 w 213"/>
                <a:gd name="T1" fmla="*/ 143 h 181"/>
                <a:gd name="T2" fmla="*/ 211 w 213"/>
                <a:gd name="T3" fmla="*/ 140 h 181"/>
                <a:gd name="T4" fmla="*/ 211 w 213"/>
                <a:gd name="T5" fmla="*/ 136 h 181"/>
                <a:gd name="T6" fmla="*/ 211 w 213"/>
                <a:gd name="T7" fmla="*/ 0 h 181"/>
                <a:gd name="T8" fmla="*/ 0 w 213"/>
                <a:gd name="T9" fmla="*/ 0 h 181"/>
                <a:gd name="T10" fmla="*/ 0 w 213"/>
                <a:gd name="T11" fmla="*/ 151 h 181"/>
                <a:gd name="T12" fmla="*/ 0 w 213"/>
                <a:gd name="T13" fmla="*/ 152 h 181"/>
                <a:gd name="T14" fmla="*/ 0 w 213"/>
                <a:gd name="T15" fmla="*/ 153 h 181"/>
                <a:gd name="T16" fmla="*/ 11 w 213"/>
                <a:gd name="T17" fmla="*/ 159 h 181"/>
                <a:gd name="T18" fmla="*/ 23 w 213"/>
                <a:gd name="T19" fmla="*/ 165 h 181"/>
                <a:gd name="T20" fmla="*/ 34 w 213"/>
                <a:gd name="T21" fmla="*/ 169 h 181"/>
                <a:gd name="T22" fmla="*/ 48 w 213"/>
                <a:gd name="T23" fmla="*/ 173 h 181"/>
                <a:gd name="T24" fmla="*/ 61 w 213"/>
                <a:gd name="T25" fmla="*/ 177 h 181"/>
                <a:gd name="T26" fmla="*/ 76 w 213"/>
                <a:gd name="T27" fmla="*/ 179 h 181"/>
                <a:gd name="T28" fmla="*/ 90 w 213"/>
                <a:gd name="T29" fmla="*/ 181 h 181"/>
                <a:gd name="T30" fmla="*/ 105 w 213"/>
                <a:gd name="T31" fmla="*/ 181 h 181"/>
                <a:gd name="T32" fmla="*/ 122 w 213"/>
                <a:gd name="T33" fmla="*/ 180 h 181"/>
                <a:gd name="T34" fmla="*/ 138 w 213"/>
                <a:gd name="T35" fmla="*/ 179 h 181"/>
                <a:gd name="T36" fmla="*/ 152 w 213"/>
                <a:gd name="T37" fmla="*/ 175 h 181"/>
                <a:gd name="T38" fmla="*/ 166 w 213"/>
                <a:gd name="T39" fmla="*/ 171 h 181"/>
                <a:gd name="T40" fmla="*/ 179 w 213"/>
                <a:gd name="T41" fmla="*/ 167 h 181"/>
                <a:gd name="T42" fmla="*/ 192 w 213"/>
                <a:gd name="T43" fmla="*/ 160 h 181"/>
                <a:gd name="T44" fmla="*/ 203 w 213"/>
                <a:gd name="T45" fmla="*/ 153 h 181"/>
                <a:gd name="T46" fmla="*/ 213 w 213"/>
                <a:gd name="T47" fmla="*/ 14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81">
                  <a:moveTo>
                    <a:pt x="213" y="143"/>
                  </a:moveTo>
                  <a:lnTo>
                    <a:pt x="211" y="140"/>
                  </a:lnTo>
                  <a:lnTo>
                    <a:pt x="211" y="136"/>
                  </a:lnTo>
                  <a:lnTo>
                    <a:pt x="211" y="0"/>
                  </a:lnTo>
                  <a:lnTo>
                    <a:pt x="0" y="0"/>
                  </a:lnTo>
                  <a:lnTo>
                    <a:pt x="0" y="151"/>
                  </a:lnTo>
                  <a:lnTo>
                    <a:pt x="0" y="152"/>
                  </a:lnTo>
                  <a:lnTo>
                    <a:pt x="0" y="153"/>
                  </a:lnTo>
                  <a:lnTo>
                    <a:pt x="11" y="159"/>
                  </a:lnTo>
                  <a:lnTo>
                    <a:pt x="23" y="165"/>
                  </a:lnTo>
                  <a:lnTo>
                    <a:pt x="34" y="169"/>
                  </a:lnTo>
                  <a:lnTo>
                    <a:pt x="48" y="173"/>
                  </a:lnTo>
                  <a:lnTo>
                    <a:pt x="61" y="177"/>
                  </a:lnTo>
                  <a:lnTo>
                    <a:pt x="76" y="179"/>
                  </a:lnTo>
                  <a:lnTo>
                    <a:pt x="90" y="181"/>
                  </a:lnTo>
                  <a:lnTo>
                    <a:pt x="105" y="181"/>
                  </a:lnTo>
                  <a:lnTo>
                    <a:pt x="122" y="180"/>
                  </a:lnTo>
                  <a:lnTo>
                    <a:pt x="138" y="179"/>
                  </a:lnTo>
                  <a:lnTo>
                    <a:pt x="152" y="175"/>
                  </a:lnTo>
                  <a:lnTo>
                    <a:pt x="166" y="171"/>
                  </a:lnTo>
                  <a:lnTo>
                    <a:pt x="179" y="167"/>
                  </a:lnTo>
                  <a:lnTo>
                    <a:pt x="192" y="160"/>
                  </a:lnTo>
                  <a:lnTo>
                    <a:pt x="203" y="153"/>
                  </a:lnTo>
                  <a:lnTo>
                    <a:pt x="213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38">
              <a:extLst>
                <a:ext uri="{FF2B5EF4-FFF2-40B4-BE49-F238E27FC236}">
                  <a16:creationId xmlns:a16="http://schemas.microsoft.com/office/drawing/2014/main" id="{E440043D-E3EB-4345-975C-79426254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2587625"/>
              <a:ext cx="57150" cy="57150"/>
            </a:xfrm>
            <a:custGeom>
              <a:avLst/>
              <a:gdLst>
                <a:gd name="T0" fmla="*/ 0 w 181"/>
                <a:gd name="T1" fmla="*/ 0 h 181"/>
                <a:gd name="T2" fmla="*/ 0 w 181"/>
                <a:gd name="T3" fmla="*/ 149 h 181"/>
                <a:gd name="T4" fmla="*/ 8 w 181"/>
                <a:gd name="T5" fmla="*/ 157 h 181"/>
                <a:gd name="T6" fmla="*/ 18 w 181"/>
                <a:gd name="T7" fmla="*/ 164 h 181"/>
                <a:gd name="T8" fmla="*/ 28 w 181"/>
                <a:gd name="T9" fmla="*/ 169 h 181"/>
                <a:gd name="T10" fmla="*/ 38 w 181"/>
                <a:gd name="T11" fmla="*/ 173 h 181"/>
                <a:gd name="T12" fmla="*/ 49 w 181"/>
                <a:gd name="T13" fmla="*/ 177 h 181"/>
                <a:gd name="T14" fmla="*/ 62 w 181"/>
                <a:gd name="T15" fmla="*/ 179 h 181"/>
                <a:gd name="T16" fmla="*/ 75 w 181"/>
                <a:gd name="T17" fmla="*/ 181 h 181"/>
                <a:gd name="T18" fmla="*/ 90 w 181"/>
                <a:gd name="T19" fmla="*/ 181 h 181"/>
                <a:gd name="T20" fmla="*/ 103 w 181"/>
                <a:gd name="T21" fmla="*/ 181 h 181"/>
                <a:gd name="T22" fmla="*/ 116 w 181"/>
                <a:gd name="T23" fmla="*/ 179 h 181"/>
                <a:gd name="T24" fmla="*/ 129 w 181"/>
                <a:gd name="T25" fmla="*/ 178 h 181"/>
                <a:gd name="T26" fmla="*/ 139 w 181"/>
                <a:gd name="T27" fmla="*/ 174 h 181"/>
                <a:gd name="T28" fmla="*/ 151 w 181"/>
                <a:gd name="T29" fmla="*/ 170 h 181"/>
                <a:gd name="T30" fmla="*/ 161 w 181"/>
                <a:gd name="T31" fmla="*/ 166 h 181"/>
                <a:gd name="T32" fmla="*/ 171 w 181"/>
                <a:gd name="T33" fmla="*/ 160 h 181"/>
                <a:gd name="T34" fmla="*/ 181 w 181"/>
                <a:gd name="T35" fmla="*/ 154 h 181"/>
                <a:gd name="T36" fmla="*/ 180 w 181"/>
                <a:gd name="T37" fmla="*/ 152 h 181"/>
                <a:gd name="T38" fmla="*/ 180 w 181"/>
                <a:gd name="T39" fmla="*/ 151 h 181"/>
                <a:gd name="T40" fmla="*/ 180 w 181"/>
                <a:gd name="T41" fmla="*/ 0 h 181"/>
                <a:gd name="T42" fmla="*/ 0 w 181"/>
                <a:gd name="T4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1" h="181">
                  <a:moveTo>
                    <a:pt x="0" y="0"/>
                  </a:moveTo>
                  <a:lnTo>
                    <a:pt x="0" y="149"/>
                  </a:lnTo>
                  <a:lnTo>
                    <a:pt x="8" y="157"/>
                  </a:lnTo>
                  <a:lnTo>
                    <a:pt x="18" y="164"/>
                  </a:lnTo>
                  <a:lnTo>
                    <a:pt x="28" y="169"/>
                  </a:lnTo>
                  <a:lnTo>
                    <a:pt x="38" y="173"/>
                  </a:lnTo>
                  <a:lnTo>
                    <a:pt x="49" y="177"/>
                  </a:lnTo>
                  <a:lnTo>
                    <a:pt x="62" y="179"/>
                  </a:lnTo>
                  <a:lnTo>
                    <a:pt x="75" y="181"/>
                  </a:lnTo>
                  <a:lnTo>
                    <a:pt x="90" y="181"/>
                  </a:lnTo>
                  <a:lnTo>
                    <a:pt x="103" y="181"/>
                  </a:lnTo>
                  <a:lnTo>
                    <a:pt x="116" y="179"/>
                  </a:lnTo>
                  <a:lnTo>
                    <a:pt x="129" y="178"/>
                  </a:lnTo>
                  <a:lnTo>
                    <a:pt x="139" y="174"/>
                  </a:lnTo>
                  <a:lnTo>
                    <a:pt x="151" y="170"/>
                  </a:lnTo>
                  <a:lnTo>
                    <a:pt x="161" y="166"/>
                  </a:lnTo>
                  <a:lnTo>
                    <a:pt x="171" y="160"/>
                  </a:lnTo>
                  <a:lnTo>
                    <a:pt x="181" y="154"/>
                  </a:lnTo>
                  <a:lnTo>
                    <a:pt x="180" y="152"/>
                  </a:lnTo>
                  <a:lnTo>
                    <a:pt x="180" y="151"/>
                  </a:lnTo>
                  <a:lnTo>
                    <a:pt x="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39">
              <a:extLst>
                <a:ext uri="{FF2B5EF4-FFF2-40B4-BE49-F238E27FC236}">
                  <a16:creationId xmlns:a16="http://schemas.microsoft.com/office/drawing/2014/main" id="{9142414C-2FFD-49DE-802C-5D4F80E1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2587625"/>
              <a:ext cx="68263" cy="47625"/>
            </a:xfrm>
            <a:custGeom>
              <a:avLst/>
              <a:gdLst>
                <a:gd name="T0" fmla="*/ 211 w 211"/>
                <a:gd name="T1" fmla="*/ 133 h 151"/>
                <a:gd name="T2" fmla="*/ 211 w 211"/>
                <a:gd name="T3" fmla="*/ 0 h 151"/>
                <a:gd name="T4" fmla="*/ 30 w 211"/>
                <a:gd name="T5" fmla="*/ 0 h 151"/>
                <a:gd name="T6" fmla="*/ 15 w 211"/>
                <a:gd name="T7" fmla="*/ 0 h 151"/>
                <a:gd name="T8" fmla="*/ 0 w 211"/>
                <a:gd name="T9" fmla="*/ 0 h 151"/>
                <a:gd name="T10" fmla="*/ 0 w 211"/>
                <a:gd name="T11" fmla="*/ 16 h 151"/>
                <a:gd name="T12" fmla="*/ 1 w 211"/>
                <a:gd name="T13" fmla="*/ 30 h 151"/>
                <a:gd name="T14" fmla="*/ 2 w 211"/>
                <a:gd name="T15" fmla="*/ 42 h 151"/>
                <a:gd name="T16" fmla="*/ 5 w 211"/>
                <a:gd name="T17" fmla="*/ 56 h 151"/>
                <a:gd name="T18" fmla="*/ 9 w 211"/>
                <a:gd name="T19" fmla="*/ 68 h 151"/>
                <a:gd name="T20" fmla="*/ 13 w 211"/>
                <a:gd name="T21" fmla="*/ 80 h 151"/>
                <a:gd name="T22" fmla="*/ 20 w 211"/>
                <a:gd name="T23" fmla="*/ 92 h 151"/>
                <a:gd name="T24" fmla="*/ 26 w 211"/>
                <a:gd name="T25" fmla="*/ 101 h 151"/>
                <a:gd name="T26" fmla="*/ 35 w 211"/>
                <a:gd name="T27" fmla="*/ 111 h 151"/>
                <a:gd name="T28" fmla="*/ 42 w 211"/>
                <a:gd name="T29" fmla="*/ 120 h 151"/>
                <a:gd name="T30" fmla="*/ 52 w 211"/>
                <a:gd name="T31" fmla="*/ 128 h 151"/>
                <a:gd name="T32" fmla="*/ 62 w 211"/>
                <a:gd name="T33" fmla="*/ 135 h 151"/>
                <a:gd name="T34" fmla="*/ 72 w 211"/>
                <a:gd name="T35" fmla="*/ 140 h 151"/>
                <a:gd name="T36" fmla="*/ 84 w 211"/>
                <a:gd name="T37" fmla="*/ 144 h 151"/>
                <a:gd name="T38" fmla="*/ 95 w 211"/>
                <a:gd name="T39" fmla="*/ 148 h 151"/>
                <a:gd name="T40" fmla="*/ 108 w 211"/>
                <a:gd name="T41" fmla="*/ 150 h 151"/>
                <a:gd name="T42" fmla="*/ 120 w 211"/>
                <a:gd name="T43" fmla="*/ 151 h 151"/>
                <a:gd name="T44" fmla="*/ 137 w 211"/>
                <a:gd name="T45" fmla="*/ 150 h 151"/>
                <a:gd name="T46" fmla="*/ 159 w 211"/>
                <a:gd name="T47" fmla="*/ 147 h 151"/>
                <a:gd name="T48" fmla="*/ 172 w 211"/>
                <a:gd name="T49" fmla="*/ 144 h 151"/>
                <a:gd name="T50" fmla="*/ 185 w 211"/>
                <a:gd name="T51" fmla="*/ 141 h 151"/>
                <a:gd name="T52" fmla="*/ 198 w 211"/>
                <a:gd name="T53" fmla="*/ 138 h 151"/>
                <a:gd name="T54" fmla="*/ 211 w 211"/>
                <a:gd name="T55" fmla="*/ 133 h 151"/>
                <a:gd name="T56" fmla="*/ 211 w 211"/>
                <a:gd name="T57" fmla="*/ 13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151">
                  <a:moveTo>
                    <a:pt x="211" y="133"/>
                  </a:moveTo>
                  <a:lnTo>
                    <a:pt x="211" y="0"/>
                  </a:lnTo>
                  <a:lnTo>
                    <a:pt x="30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1" y="30"/>
                  </a:lnTo>
                  <a:lnTo>
                    <a:pt x="2" y="42"/>
                  </a:lnTo>
                  <a:lnTo>
                    <a:pt x="5" y="56"/>
                  </a:lnTo>
                  <a:lnTo>
                    <a:pt x="9" y="68"/>
                  </a:lnTo>
                  <a:lnTo>
                    <a:pt x="13" y="80"/>
                  </a:lnTo>
                  <a:lnTo>
                    <a:pt x="20" y="92"/>
                  </a:lnTo>
                  <a:lnTo>
                    <a:pt x="26" y="101"/>
                  </a:lnTo>
                  <a:lnTo>
                    <a:pt x="35" y="111"/>
                  </a:lnTo>
                  <a:lnTo>
                    <a:pt x="42" y="120"/>
                  </a:lnTo>
                  <a:lnTo>
                    <a:pt x="52" y="128"/>
                  </a:lnTo>
                  <a:lnTo>
                    <a:pt x="62" y="135"/>
                  </a:lnTo>
                  <a:lnTo>
                    <a:pt x="72" y="140"/>
                  </a:lnTo>
                  <a:lnTo>
                    <a:pt x="84" y="144"/>
                  </a:lnTo>
                  <a:lnTo>
                    <a:pt x="95" y="148"/>
                  </a:lnTo>
                  <a:lnTo>
                    <a:pt x="108" y="150"/>
                  </a:lnTo>
                  <a:lnTo>
                    <a:pt x="120" y="151"/>
                  </a:lnTo>
                  <a:lnTo>
                    <a:pt x="137" y="150"/>
                  </a:lnTo>
                  <a:lnTo>
                    <a:pt x="159" y="147"/>
                  </a:lnTo>
                  <a:lnTo>
                    <a:pt x="172" y="144"/>
                  </a:lnTo>
                  <a:lnTo>
                    <a:pt x="185" y="141"/>
                  </a:lnTo>
                  <a:lnTo>
                    <a:pt x="198" y="138"/>
                  </a:lnTo>
                  <a:lnTo>
                    <a:pt x="211" y="133"/>
                  </a:lnTo>
                  <a:lnTo>
                    <a:pt x="211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40">
              <a:extLst>
                <a:ext uri="{FF2B5EF4-FFF2-40B4-BE49-F238E27FC236}">
                  <a16:creationId xmlns:a16="http://schemas.microsoft.com/office/drawing/2014/main" id="{7CC911BD-BFF7-45AB-9E60-BEF99CB40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2963" y="2722563"/>
              <a:ext cx="9525" cy="9525"/>
            </a:xfrm>
            <a:custGeom>
              <a:avLst/>
              <a:gdLst>
                <a:gd name="T0" fmla="*/ 15 w 30"/>
                <a:gd name="T1" fmla="*/ 30 h 30"/>
                <a:gd name="T2" fmla="*/ 17 w 30"/>
                <a:gd name="T3" fmla="*/ 29 h 30"/>
                <a:gd name="T4" fmla="*/ 21 w 30"/>
                <a:gd name="T5" fmla="*/ 28 h 30"/>
                <a:gd name="T6" fmla="*/ 23 w 30"/>
                <a:gd name="T7" fmla="*/ 27 h 30"/>
                <a:gd name="T8" fmla="*/ 26 w 30"/>
                <a:gd name="T9" fmla="*/ 25 h 30"/>
                <a:gd name="T10" fmla="*/ 27 w 30"/>
                <a:gd name="T11" fmla="*/ 23 h 30"/>
                <a:gd name="T12" fmla="*/ 29 w 30"/>
                <a:gd name="T13" fmla="*/ 21 h 30"/>
                <a:gd name="T14" fmla="*/ 29 w 30"/>
                <a:gd name="T15" fmla="*/ 17 h 30"/>
                <a:gd name="T16" fmla="*/ 30 w 30"/>
                <a:gd name="T17" fmla="*/ 15 h 30"/>
                <a:gd name="T18" fmla="*/ 29 w 30"/>
                <a:gd name="T19" fmla="*/ 12 h 30"/>
                <a:gd name="T20" fmla="*/ 29 w 30"/>
                <a:gd name="T21" fmla="*/ 9 h 30"/>
                <a:gd name="T22" fmla="*/ 27 w 30"/>
                <a:gd name="T23" fmla="*/ 7 h 30"/>
                <a:gd name="T24" fmla="*/ 26 w 30"/>
                <a:gd name="T25" fmla="*/ 4 h 30"/>
                <a:gd name="T26" fmla="*/ 23 w 30"/>
                <a:gd name="T27" fmla="*/ 2 h 30"/>
                <a:gd name="T28" fmla="*/ 21 w 30"/>
                <a:gd name="T29" fmla="*/ 1 h 30"/>
                <a:gd name="T30" fmla="*/ 17 w 30"/>
                <a:gd name="T31" fmla="*/ 0 h 30"/>
                <a:gd name="T32" fmla="*/ 15 w 30"/>
                <a:gd name="T33" fmla="*/ 0 h 30"/>
                <a:gd name="T34" fmla="*/ 12 w 30"/>
                <a:gd name="T35" fmla="*/ 0 h 30"/>
                <a:gd name="T36" fmla="*/ 9 w 30"/>
                <a:gd name="T37" fmla="*/ 1 h 30"/>
                <a:gd name="T38" fmla="*/ 7 w 30"/>
                <a:gd name="T39" fmla="*/ 2 h 30"/>
                <a:gd name="T40" fmla="*/ 5 w 30"/>
                <a:gd name="T41" fmla="*/ 4 h 30"/>
                <a:gd name="T42" fmla="*/ 2 w 30"/>
                <a:gd name="T43" fmla="*/ 7 h 30"/>
                <a:gd name="T44" fmla="*/ 1 w 30"/>
                <a:gd name="T45" fmla="*/ 9 h 30"/>
                <a:gd name="T46" fmla="*/ 0 w 30"/>
                <a:gd name="T47" fmla="*/ 12 h 30"/>
                <a:gd name="T48" fmla="*/ 0 w 30"/>
                <a:gd name="T49" fmla="*/ 15 h 30"/>
                <a:gd name="T50" fmla="*/ 0 w 30"/>
                <a:gd name="T51" fmla="*/ 17 h 30"/>
                <a:gd name="T52" fmla="*/ 1 w 30"/>
                <a:gd name="T53" fmla="*/ 21 h 30"/>
                <a:gd name="T54" fmla="*/ 2 w 30"/>
                <a:gd name="T55" fmla="*/ 23 h 30"/>
                <a:gd name="T56" fmla="*/ 5 w 30"/>
                <a:gd name="T57" fmla="*/ 25 h 30"/>
                <a:gd name="T58" fmla="*/ 7 w 30"/>
                <a:gd name="T59" fmla="*/ 27 h 30"/>
                <a:gd name="T60" fmla="*/ 9 w 30"/>
                <a:gd name="T61" fmla="*/ 28 h 30"/>
                <a:gd name="T62" fmla="*/ 12 w 30"/>
                <a:gd name="T63" fmla="*/ 29 h 30"/>
                <a:gd name="T64" fmla="*/ 15 w 30"/>
                <a:gd name="T6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lnTo>
                    <a:pt x="17" y="29"/>
                  </a:lnTo>
                  <a:lnTo>
                    <a:pt x="21" y="28"/>
                  </a:lnTo>
                  <a:lnTo>
                    <a:pt x="23" y="27"/>
                  </a:lnTo>
                  <a:lnTo>
                    <a:pt x="26" y="25"/>
                  </a:lnTo>
                  <a:lnTo>
                    <a:pt x="27" y="23"/>
                  </a:lnTo>
                  <a:lnTo>
                    <a:pt x="29" y="21"/>
                  </a:lnTo>
                  <a:lnTo>
                    <a:pt x="29" y="17"/>
                  </a:lnTo>
                  <a:lnTo>
                    <a:pt x="30" y="15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4"/>
                  </a:lnTo>
                  <a:lnTo>
                    <a:pt x="23" y="2"/>
                  </a:lnTo>
                  <a:lnTo>
                    <a:pt x="21" y="1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41">
              <a:extLst>
                <a:ext uri="{FF2B5EF4-FFF2-40B4-BE49-F238E27FC236}">
                  <a16:creationId xmlns:a16="http://schemas.microsoft.com/office/drawing/2014/main" id="{A1BCCE46-D758-4E1D-8A5C-D21AB44E4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0" y="2530475"/>
              <a:ext cx="80963" cy="47625"/>
            </a:xfrm>
            <a:custGeom>
              <a:avLst/>
              <a:gdLst>
                <a:gd name="T0" fmla="*/ 35 w 258"/>
                <a:gd name="T1" fmla="*/ 151 h 151"/>
                <a:gd name="T2" fmla="*/ 208 w 258"/>
                <a:gd name="T3" fmla="*/ 151 h 151"/>
                <a:gd name="T4" fmla="*/ 258 w 258"/>
                <a:gd name="T5" fmla="*/ 0 h 151"/>
                <a:gd name="T6" fmla="*/ 99 w 258"/>
                <a:gd name="T7" fmla="*/ 0 h 151"/>
                <a:gd name="T8" fmla="*/ 95 w 258"/>
                <a:gd name="T9" fmla="*/ 1 h 151"/>
                <a:gd name="T10" fmla="*/ 91 w 258"/>
                <a:gd name="T11" fmla="*/ 2 h 151"/>
                <a:gd name="T12" fmla="*/ 88 w 258"/>
                <a:gd name="T13" fmla="*/ 5 h 151"/>
                <a:gd name="T14" fmla="*/ 86 w 258"/>
                <a:gd name="T15" fmla="*/ 8 h 151"/>
                <a:gd name="T16" fmla="*/ 18 w 258"/>
                <a:gd name="T17" fmla="*/ 120 h 151"/>
                <a:gd name="T18" fmla="*/ 0 w 258"/>
                <a:gd name="T19" fmla="*/ 151 h 151"/>
                <a:gd name="T20" fmla="*/ 9 w 258"/>
                <a:gd name="T21" fmla="*/ 151 h 151"/>
                <a:gd name="T22" fmla="*/ 35 w 258"/>
                <a:gd name="T2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8" h="151">
                  <a:moveTo>
                    <a:pt x="35" y="151"/>
                  </a:moveTo>
                  <a:lnTo>
                    <a:pt x="208" y="151"/>
                  </a:lnTo>
                  <a:lnTo>
                    <a:pt x="258" y="0"/>
                  </a:lnTo>
                  <a:lnTo>
                    <a:pt x="99" y="0"/>
                  </a:lnTo>
                  <a:lnTo>
                    <a:pt x="95" y="1"/>
                  </a:lnTo>
                  <a:lnTo>
                    <a:pt x="91" y="2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18" y="120"/>
                  </a:lnTo>
                  <a:lnTo>
                    <a:pt x="0" y="151"/>
                  </a:lnTo>
                  <a:lnTo>
                    <a:pt x="9" y="151"/>
                  </a:lnTo>
                  <a:lnTo>
                    <a:pt x="3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42">
              <a:extLst>
                <a:ext uri="{FF2B5EF4-FFF2-40B4-BE49-F238E27FC236}">
                  <a16:creationId xmlns:a16="http://schemas.microsoft.com/office/drawing/2014/main" id="{7254A82D-A287-4169-94DD-99188E5F6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200" y="2530475"/>
              <a:ext cx="55563" cy="47625"/>
            </a:xfrm>
            <a:custGeom>
              <a:avLst/>
              <a:gdLst>
                <a:gd name="T0" fmla="*/ 175 w 175"/>
                <a:gd name="T1" fmla="*/ 151 h 151"/>
                <a:gd name="T2" fmla="*/ 175 w 175"/>
                <a:gd name="T3" fmla="*/ 0 h 151"/>
                <a:gd name="T4" fmla="*/ 51 w 175"/>
                <a:gd name="T5" fmla="*/ 0 h 151"/>
                <a:gd name="T6" fmla="*/ 0 w 175"/>
                <a:gd name="T7" fmla="*/ 151 h 151"/>
                <a:gd name="T8" fmla="*/ 175 w 17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51">
                  <a:moveTo>
                    <a:pt x="175" y="151"/>
                  </a:moveTo>
                  <a:lnTo>
                    <a:pt x="175" y="0"/>
                  </a:lnTo>
                  <a:lnTo>
                    <a:pt x="51" y="0"/>
                  </a:lnTo>
                  <a:lnTo>
                    <a:pt x="0" y="151"/>
                  </a:lnTo>
                  <a:lnTo>
                    <a:pt x="1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43">
              <a:extLst>
                <a:ext uri="{FF2B5EF4-FFF2-40B4-BE49-F238E27FC236}">
                  <a16:creationId xmlns:a16="http://schemas.microsoft.com/office/drawing/2014/main" id="{9CC83424-906E-4B70-A7A0-40428097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5025" y="2530475"/>
              <a:ext cx="82550" cy="47625"/>
            </a:xfrm>
            <a:custGeom>
              <a:avLst/>
              <a:gdLst>
                <a:gd name="T0" fmla="*/ 223 w 258"/>
                <a:gd name="T1" fmla="*/ 151 h 151"/>
                <a:gd name="T2" fmla="*/ 250 w 258"/>
                <a:gd name="T3" fmla="*/ 151 h 151"/>
                <a:gd name="T4" fmla="*/ 258 w 258"/>
                <a:gd name="T5" fmla="*/ 151 h 151"/>
                <a:gd name="T6" fmla="*/ 240 w 258"/>
                <a:gd name="T7" fmla="*/ 120 h 151"/>
                <a:gd name="T8" fmla="*/ 172 w 258"/>
                <a:gd name="T9" fmla="*/ 8 h 151"/>
                <a:gd name="T10" fmla="*/ 170 w 258"/>
                <a:gd name="T11" fmla="*/ 5 h 151"/>
                <a:gd name="T12" fmla="*/ 167 w 258"/>
                <a:gd name="T13" fmla="*/ 2 h 151"/>
                <a:gd name="T14" fmla="*/ 164 w 258"/>
                <a:gd name="T15" fmla="*/ 1 h 151"/>
                <a:gd name="T16" fmla="*/ 159 w 258"/>
                <a:gd name="T17" fmla="*/ 0 h 151"/>
                <a:gd name="T18" fmla="*/ 0 w 258"/>
                <a:gd name="T19" fmla="*/ 0 h 151"/>
                <a:gd name="T20" fmla="*/ 50 w 258"/>
                <a:gd name="T21" fmla="*/ 151 h 151"/>
                <a:gd name="T22" fmla="*/ 223 w 258"/>
                <a:gd name="T2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8" h="151">
                  <a:moveTo>
                    <a:pt x="223" y="151"/>
                  </a:moveTo>
                  <a:lnTo>
                    <a:pt x="250" y="151"/>
                  </a:lnTo>
                  <a:lnTo>
                    <a:pt x="258" y="151"/>
                  </a:lnTo>
                  <a:lnTo>
                    <a:pt x="240" y="120"/>
                  </a:lnTo>
                  <a:lnTo>
                    <a:pt x="172" y="8"/>
                  </a:lnTo>
                  <a:lnTo>
                    <a:pt x="170" y="5"/>
                  </a:lnTo>
                  <a:lnTo>
                    <a:pt x="167" y="2"/>
                  </a:lnTo>
                  <a:lnTo>
                    <a:pt x="164" y="1"/>
                  </a:lnTo>
                  <a:lnTo>
                    <a:pt x="159" y="0"/>
                  </a:lnTo>
                  <a:lnTo>
                    <a:pt x="0" y="0"/>
                  </a:lnTo>
                  <a:lnTo>
                    <a:pt x="50" y="151"/>
                  </a:lnTo>
                  <a:lnTo>
                    <a:pt x="223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4">
              <a:extLst>
                <a:ext uri="{FF2B5EF4-FFF2-40B4-BE49-F238E27FC236}">
                  <a16:creationId xmlns:a16="http://schemas.microsoft.com/office/drawing/2014/main" id="{4E6C40BB-E4EC-452B-A15F-F872AE55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2530475"/>
              <a:ext cx="65088" cy="47625"/>
            </a:xfrm>
            <a:custGeom>
              <a:avLst/>
              <a:gdLst>
                <a:gd name="T0" fmla="*/ 154 w 205"/>
                <a:gd name="T1" fmla="*/ 0 h 151"/>
                <a:gd name="T2" fmla="*/ 0 w 205"/>
                <a:gd name="T3" fmla="*/ 0 h 151"/>
                <a:gd name="T4" fmla="*/ 0 w 205"/>
                <a:gd name="T5" fmla="*/ 151 h 151"/>
                <a:gd name="T6" fmla="*/ 205 w 205"/>
                <a:gd name="T7" fmla="*/ 151 h 151"/>
                <a:gd name="T8" fmla="*/ 154 w 205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51">
                  <a:moveTo>
                    <a:pt x="154" y="0"/>
                  </a:moveTo>
                  <a:lnTo>
                    <a:pt x="0" y="0"/>
                  </a:lnTo>
                  <a:lnTo>
                    <a:pt x="0" y="151"/>
                  </a:lnTo>
                  <a:lnTo>
                    <a:pt x="205" y="151"/>
                  </a:lnTo>
                  <a:lnTo>
                    <a:pt x="1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301A5EF5-C746-484C-8C3E-54B470C96735}"/>
              </a:ext>
            </a:extLst>
          </p:cNvPr>
          <p:cNvSpPr/>
          <p:nvPr/>
        </p:nvSpPr>
        <p:spPr>
          <a:xfrm>
            <a:off x="1653068" y="5435301"/>
            <a:ext cx="889299" cy="8892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279CFC0-764D-481D-ACE2-8D9333D36D7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699649" y="5511954"/>
            <a:ext cx="3225057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D086B74B-B772-4210-A7D6-37C9340D5A32}"/>
              </a:ext>
            </a:extLst>
          </p:cNvPr>
          <p:cNvGrpSpPr/>
          <p:nvPr/>
        </p:nvGrpSpPr>
        <p:grpSpPr>
          <a:xfrm>
            <a:off x="1929411" y="5734891"/>
            <a:ext cx="336612" cy="290118"/>
            <a:chOff x="304800" y="1384300"/>
            <a:chExt cx="287338" cy="247650"/>
          </a:xfrm>
          <a:solidFill>
            <a:schemeClr val="bg1"/>
          </a:solidFill>
        </p:grpSpPr>
        <p:sp>
          <p:nvSpPr>
            <p:cNvPr id="199" name="Freeform 357">
              <a:extLst>
                <a:ext uri="{FF2B5EF4-FFF2-40B4-BE49-F238E27FC236}">
                  <a16:creationId xmlns:a16="http://schemas.microsoft.com/office/drawing/2014/main" id="{378D4309-1896-4F48-96BB-C6B443A15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238" y="1479550"/>
              <a:ext cx="9525" cy="9525"/>
            </a:xfrm>
            <a:custGeom>
              <a:avLst/>
              <a:gdLst>
                <a:gd name="T0" fmla="*/ 15 w 30"/>
                <a:gd name="T1" fmla="*/ 0 h 30"/>
                <a:gd name="T2" fmla="*/ 12 w 30"/>
                <a:gd name="T3" fmla="*/ 1 h 30"/>
                <a:gd name="T4" fmla="*/ 9 w 30"/>
                <a:gd name="T5" fmla="*/ 1 h 30"/>
                <a:gd name="T6" fmla="*/ 7 w 30"/>
                <a:gd name="T7" fmla="*/ 3 h 30"/>
                <a:gd name="T8" fmla="*/ 5 w 30"/>
                <a:gd name="T9" fmla="*/ 4 h 30"/>
                <a:gd name="T10" fmla="*/ 2 w 30"/>
                <a:gd name="T11" fmla="*/ 7 h 30"/>
                <a:gd name="T12" fmla="*/ 1 w 30"/>
                <a:gd name="T13" fmla="*/ 10 h 30"/>
                <a:gd name="T14" fmla="*/ 0 w 30"/>
                <a:gd name="T15" fmla="*/ 13 h 30"/>
                <a:gd name="T16" fmla="*/ 0 w 30"/>
                <a:gd name="T17" fmla="*/ 15 h 30"/>
                <a:gd name="T18" fmla="*/ 0 w 30"/>
                <a:gd name="T19" fmla="*/ 18 h 30"/>
                <a:gd name="T20" fmla="*/ 1 w 30"/>
                <a:gd name="T21" fmla="*/ 21 h 30"/>
                <a:gd name="T22" fmla="*/ 2 w 30"/>
                <a:gd name="T23" fmla="*/ 24 h 30"/>
                <a:gd name="T24" fmla="*/ 5 w 30"/>
                <a:gd name="T25" fmla="*/ 26 h 30"/>
                <a:gd name="T26" fmla="*/ 7 w 30"/>
                <a:gd name="T27" fmla="*/ 28 h 30"/>
                <a:gd name="T28" fmla="*/ 9 w 30"/>
                <a:gd name="T29" fmla="*/ 29 h 30"/>
                <a:gd name="T30" fmla="*/ 12 w 30"/>
                <a:gd name="T31" fmla="*/ 30 h 30"/>
                <a:gd name="T32" fmla="*/ 15 w 30"/>
                <a:gd name="T33" fmla="*/ 30 h 30"/>
                <a:gd name="T34" fmla="*/ 17 w 30"/>
                <a:gd name="T35" fmla="*/ 30 h 30"/>
                <a:gd name="T36" fmla="*/ 21 w 30"/>
                <a:gd name="T37" fmla="*/ 29 h 30"/>
                <a:gd name="T38" fmla="*/ 23 w 30"/>
                <a:gd name="T39" fmla="*/ 28 h 30"/>
                <a:gd name="T40" fmla="*/ 26 w 30"/>
                <a:gd name="T41" fmla="*/ 26 h 30"/>
                <a:gd name="T42" fmla="*/ 27 w 30"/>
                <a:gd name="T43" fmla="*/ 24 h 30"/>
                <a:gd name="T44" fmla="*/ 29 w 30"/>
                <a:gd name="T45" fmla="*/ 21 h 30"/>
                <a:gd name="T46" fmla="*/ 29 w 30"/>
                <a:gd name="T47" fmla="*/ 18 h 30"/>
                <a:gd name="T48" fmla="*/ 30 w 30"/>
                <a:gd name="T49" fmla="*/ 15 h 30"/>
                <a:gd name="T50" fmla="*/ 29 w 30"/>
                <a:gd name="T51" fmla="*/ 13 h 30"/>
                <a:gd name="T52" fmla="*/ 29 w 30"/>
                <a:gd name="T53" fmla="*/ 10 h 30"/>
                <a:gd name="T54" fmla="*/ 27 w 30"/>
                <a:gd name="T55" fmla="*/ 7 h 30"/>
                <a:gd name="T56" fmla="*/ 26 w 30"/>
                <a:gd name="T57" fmla="*/ 4 h 30"/>
                <a:gd name="T58" fmla="*/ 23 w 30"/>
                <a:gd name="T59" fmla="*/ 3 h 30"/>
                <a:gd name="T60" fmla="*/ 21 w 30"/>
                <a:gd name="T61" fmla="*/ 1 h 30"/>
                <a:gd name="T62" fmla="*/ 17 w 30"/>
                <a:gd name="T63" fmla="*/ 1 h 30"/>
                <a:gd name="T64" fmla="*/ 15 w 30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21" y="29"/>
                  </a:lnTo>
                  <a:lnTo>
                    <a:pt x="23" y="28"/>
                  </a:lnTo>
                  <a:lnTo>
                    <a:pt x="26" y="26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18"/>
                  </a:lnTo>
                  <a:lnTo>
                    <a:pt x="30" y="15"/>
                  </a:lnTo>
                  <a:lnTo>
                    <a:pt x="29" y="13"/>
                  </a:lnTo>
                  <a:lnTo>
                    <a:pt x="29" y="10"/>
                  </a:lnTo>
                  <a:lnTo>
                    <a:pt x="27" y="7"/>
                  </a:lnTo>
                  <a:lnTo>
                    <a:pt x="26" y="4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7" y="1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358">
              <a:extLst>
                <a:ext uri="{FF2B5EF4-FFF2-40B4-BE49-F238E27FC236}">
                  <a16:creationId xmlns:a16="http://schemas.microsoft.com/office/drawing/2014/main" id="{224C3CE4-6733-4076-854F-60F8B7070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" y="1384300"/>
              <a:ext cx="287338" cy="247650"/>
            </a:xfrm>
            <a:custGeom>
              <a:avLst/>
              <a:gdLst>
                <a:gd name="T0" fmla="*/ 627 w 903"/>
                <a:gd name="T1" fmla="*/ 239 h 782"/>
                <a:gd name="T2" fmla="*/ 558 w 903"/>
                <a:gd name="T3" fmla="*/ 200 h 782"/>
                <a:gd name="T4" fmla="*/ 474 w 903"/>
                <a:gd name="T5" fmla="*/ 180 h 782"/>
                <a:gd name="T6" fmla="*/ 429 w 903"/>
                <a:gd name="T7" fmla="*/ 178 h 782"/>
                <a:gd name="T8" fmla="*/ 421 w 903"/>
                <a:gd name="T9" fmla="*/ 163 h 782"/>
                <a:gd name="T10" fmla="*/ 432 w 903"/>
                <a:gd name="T11" fmla="*/ 150 h 782"/>
                <a:gd name="T12" fmla="*/ 502 w 903"/>
                <a:gd name="T13" fmla="*/ 153 h 782"/>
                <a:gd name="T14" fmla="*/ 581 w 903"/>
                <a:gd name="T15" fmla="*/ 178 h 782"/>
                <a:gd name="T16" fmla="*/ 644 w 903"/>
                <a:gd name="T17" fmla="*/ 215 h 782"/>
                <a:gd name="T18" fmla="*/ 646 w 903"/>
                <a:gd name="T19" fmla="*/ 231 h 782"/>
                <a:gd name="T20" fmla="*/ 209 w 903"/>
                <a:gd name="T21" fmla="*/ 347 h 782"/>
                <a:gd name="T22" fmla="*/ 199 w 903"/>
                <a:gd name="T23" fmla="*/ 298 h 782"/>
                <a:gd name="T24" fmla="*/ 241 w 903"/>
                <a:gd name="T25" fmla="*/ 270 h 782"/>
                <a:gd name="T26" fmla="*/ 282 w 903"/>
                <a:gd name="T27" fmla="*/ 298 h 782"/>
                <a:gd name="T28" fmla="*/ 272 w 903"/>
                <a:gd name="T29" fmla="*/ 347 h 782"/>
                <a:gd name="T30" fmla="*/ 888 w 903"/>
                <a:gd name="T31" fmla="*/ 285 h 782"/>
                <a:gd name="T32" fmla="*/ 874 w 903"/>
                <a:gd name="T33" fmla="*/ 295 h 782"/>
                <a:gd name="T34" fmla="*/ 860 w 903"/>
                <a:gd name="T35" fmla="*/ 339 h 782"/>
                <a:gd name="T36" fmla="*/ 823 w 903"/>
                <a:gd name="T37" fmla="*/ 328 h 782"/>
                <a:gd name="T38" fmla="*/ 793 w 903"/>
                <a:gd name="T39" fmla="*/ 242 h 782"/>
                <a:gd name="T40" fmla="*/ 735 w 903"/>
                <a:gd name="T41" fmla="*/ 168 h 782"/>
                <a:gd name="T42" fmla="*/ 656 w 903"/>
                <a:gd name="T43" fmla="*/ 110 h 782"/>
                <a:gd name="T44" fmla="*/ 560 w 903"/>
                <a:gd name="T45" fmla="*/ 73 h 782"/>
                <a:gd name="T46" fmla="*/ 452 w 903"/>
                <a:gd name="T47" fmla="*/ 60 h 782"/>
                <a:gd name="T48" fmla="*/ 355 w 903"/>
                <a:gd name="T49" fmla="*/ 50 h 782"/>
                <a:gd name="T50" fmla="*/ 312 w 903"/>
                <a:gd name="T51" fmla="*/ 17 h 782"/>
                <a:gd name="T52" fmla="*/ 262 w 903"/>
                <a:gd name="T53" fmla="*/ 1 h 782"/>
                <a:gd name="T54" fmla="*/ 205 w 903"/>
                <a:gd name="T55" fmla="*/ 4 h 782"/>
                <a:gd name="T56" fmla="*/ 163 w 903"/>
                <a:gd name="T57" fmla="*/ 24 h 782"/>
                <a:gd name="T58" fmla="*/ 169 w 903"/>
                <a:gd name="T59" fmla="*/ 46 h 782"/>
                <a:gd name="T60" fmla="*/ 217 w 903"/>
                <a:gd name="T61" fmla="*/ 98 h 782"/>
                <a:gd name="T62" fmla="*/ 172 w 903"/>
                <a:gd name="T63" fmla="*/ 163 h 782"/>
                <a:gd name="T64" fmla="*/ 110 w 903"/>
                <a:gd name="T65" fmla="*/ 241 h 782"/>
                <a:gd name="T66" fmla="*/ 77 w 903"/>
                <a:gd name="T67" fmla="*/ 330 h 782"/>
                <a:gd name="T68" fmla="*/ 2 w 903"/>
                <a:gd name="T69" fmla="*/ 337 h 782"/>
                <a:gd name="T70" fmla="*/ 1 w 903"/>
                <a:gd name="T71" fmla="*/ 502 h 782"/>
                <a:gd name="T72" fmla="*/ 15 w 903"/>
                <a:gd name="T73" fmla="*/ 511 h 782"/>
                <a:gd name="T74" fmla="*/ 153 w 903"/>
                <a:gd name="T75" fmla="*/ 576 h 782"/>
                <a:gd name="T76" fmla="*/ 225 w 903"/>
                <a:gd name="T77" fmla="*/ 636 h 782"/>
                <a:gd name="T78" fmla="*/ 301 w 903"/>
                <a:gd name="T79" fmla="*/ 767 h 782"/>
                <a:gd name="T80" fmla="*/ 310 w 903"/>
                <a:gd name="T81" fmla="*/ 780 h 782"/>
                <a:gd name="T82" fmla="*/ 327 w 903"/>
                <a:gd name="T83" fmla="*/ 777 h 782"/>
                <a:gd name="T84" fmla="*/ 359 w 903"/>
                <a:gd name="T85" fmla="*/ 684 h 782"/>
                <a:gd name="T86" fmla="*/ 499 w 903"/>
                <a:gd name="T87" fmla="*/ 689 h 782"/>
                <a:gd name="T88" fmla="*/ 573 w 903"/>
                <a:gd name="T89" fmla="*/ 773 h 782"/>
                <a:gd name="T90" fmla="*/ 587 w 903"/>
                <a:gd name="T91" fmla="*/ 782 h 782"/>
                <a:gd name="T92" fmla="*/ 601 w 903"/>
                <a:gd name="T93" fmla="*/ 773 h 782"/>
                <a:gd name="T94" fmla="*/ 669 w 903"/>
                <a:gd name="T95" fmla="*/ 632 h 782"/>
                <a:gd name="T96" fmla="*/ 773 w 903"/>
                <a:gd name="T97" fmla="*/ 537 h 782"/>
                <a:gd name="T98" fmla="*/ 825 w 903"/>
                <a:gd name="T99" fmla="*/ 413 h 782"/>
                <a:gd name="T100" fmla="*/ 864 w 903"/>
                <a:gd name="T101" fmla="*/ 375 h 782"/>
                <a:gd name="T102" fmla="*/ 894 w 903"/>
                <a:gd name="T103" fmla="*/ 340 h 782"/>
                <a:gd name="T104" fmla="*/ 903 w 903"/>
                <a:gd name="T105" fmla="*/ 297 h 782"/>
                <a:gd name="T106" fmla="*/ 891 w 903"/>
                <a:gd name="T107" fmla="*/ 286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3" h="782">
                  <a:moveTo>
                    <a:pt x="645" y="235"/>
                  </a:moveTo>
                  <a:lnTo>
                    <a:pt x="641" y="237"/>
                  </a:lnTo>
                  <a:lnTo>
                    <a:pt x="639" y="239"/>
                  </a:lnTo>
                  <a:lnTo>
                    <a:pt x="636" y="240"/>
                  </a:lnTo>
                  <a:lnTo>
                    <a:pt x="633" y="240"/>
                  </a:lnTo>
                  <a:lnTo>
                    <a:pt x="627" y="239"/>
                  </a:lnTo>
                  <a:lnTo>
                    <a:pt x="623" y="237"/>
                  </a:lnTo>
                  <a:lnTo>
                    <a:pt x="613" y="230"/>
                  </a:lnTo>
                  <a:lnTo>
                    <a:pt x="603" y="223"/>
                  </a:lnTo>
                  <a:lnTo>
                    <a:pt x="592" y="216"/>
                  </a:lnTo>
                  <a:lnTo>
                    <a:pt x="580" y="211"/>
                  </a:lnTo>
                  <a:lnTo>
                    <a:pt x="558" y="200"/>
                  </a:lnTo>
                  <a:lnTo>
                    <a:pt x="534" y="192"/>
                  </a:lnTo>
                  <a:lnTo>
                    <a:pt x="522" y="188"/>
                  </a:lnTo>
                  <a:lnTo>
                    <a:pt x="509" y="185"/>
                  </a:lnTo>
                  <a:lnTo>
                    <a:pt x="498" y="183"/>
                  </a:lnTo>
                  <a:lnTo>
                    <a:pt x="486" y="181"/>
                  </a:lnTo>
                  <a:lnTo>
                    <a:pt x="474" y="180"/>
                  </a:lnTo>
                  <a:lnTo>
                    <a:pt x="461" y="180"/>
                  </a:lnTo>
                  <a:lnTo>
                    <a:pt x="449" y="180"/>
                  </a:lnTo>
                  <a:lnTo>
                    <a:pt x="438" y="180"/>
                  </a:lnTo>
                  <a:lnTo>
                    <a:pt x="434" y="180"/>
                  </a:lnTo>
                  <a:lnTo>
                    <a:pt x="432" y="179"/>
                  </a:lnTo>
                  <a:lnTo>
                    <a:pt x="429" y="178"/>
                  </a:lnTo>
                  <a:lnTo>
                    <a:pt x="427" y="177"/>
                  </a:lnTo>
                  <a:lnTo>
                    <a:pt x="425" y="174"/>
                  </a:lnTo>
                  <a:lnTo>
                    <a:pt x="424" y="171"/>
                  </a:lnTo>
                  <a:lnTo>
                    <a:pt x="423" y="169"/>
                  </a:lnTo>
                  <a:lnTo>
                    <a:pt x="421" y="166"/>
                  </a:lnTo>
                  <a:lnTo>
                    <a:pt x="421" y="163"/>
                  </a:lnTo>
                  <a:lnTo>
                    <a:pt x="423" y="159"/>
                  </a:lnTo>
                  <a:lnTo>
                    <a:pt x="424" y="157"/>
                  </a:lnTo>
                  <a:lnTo>
                    <a:pt x="425" y="155"/>
                  </a:lnTo>
                  <a:lnTo>
                    <a:pt x="427" y="153"/>
                  </a:lnTo>
                  <a:lnTo>
                    <a:pt x="430" y="151"/>
                  </a:lnTo>
                  <a:lnTo>
                    <a:pt x="432" y="150"/>
                  </a:lnTo>
                  <a:lnTo>
                    <a:pt x="435" y="150"/>
                  </a:lnTo>
                  <a:lnTo>
                    <a:pt x="448" y="150"/>
                  </a:lnTo>
                  <a:lnTo>
                    <a:pt x="462" y="150"/>
                  </a:lnTo>
                  <a:lnTo>
                    <a:pt x="475" y="150"/>
                  </a:lnTo>
                  <a:lnTo>
                    <a:pt x="489" y="152"/>
                  </a:lnTo>
                  <a:lnTo>
                    <a:pt x="502" y="153"/>
                  </a:lnTo>
                  <a:lnTo>
                    <a:pt x="516" y="156"/>
                  </a:lnTo>
                  <a:lnTo>
                    <a:pt x="529" y="159"/>
                  </a:lnTo>
                  <a:lnTo>
                    <a:pt x="543" y="163"/>
                  </a:lnTo>
                  <a:lnTo>
                    <a:pt x="556" y="167"/>
                  </a:lnTo>
                  <a:lnTo>
                    <a:pt x="568" y="172"/>
                  </a:lnTo>
                  <a:lnTo>
                    <a:pt x="581" y="178"/>
                  </a:lnTo>
                  <a:lnTo>
                    <a:pt x="594" y="184"/>
                  </a:lnTo>
                  <a:lnTo>
                    <a:pt x="606" y="191"/>
                  </a:lnTo>
                  <a:lnTo>
                    <a:pt x="619" y="197"/>
                  </a:lnTo>
                  <a:lnTo>
                    <a:pt x="630" y="204"/>
                  </a:lnTo>
                  <a:lnTo>
                    <a:pt x="641" y="213"/>
                  </a:lnTo>
                  <a:lnTo>
                    <a:pt x="644" y="215"/>
                  </a:lnTo>
                  <a:lnTo>
                    <a:pt x="646" y="217"/>
                  </a:lnTo>
                  <a:lnTo>
                    <a:pt x="647" y="221"/>
                  </a:lnTo>
                  <a:lnTo>
                    <a:pt x="647" y="223"/>
                  </a:lnTo>
                  <a:lnTo>
                    <a:pt x="648" y="226"/>
                  </a:lnTo>
                  <a:lnTo>
                    <a:pt x="647" y="229"/>
                  </a:lnTo>
                  <a:lnTo>
                    <a:pt x="646" y="231"/>
                  </a:lnTo>
                  <a:lnTo>
                    <a:pt x="645" y="235"/>
                  </a:lnTo>
                  <a:close/>
                  <a:moveTo>
                    <a:pt x="241" y="360"/>
                  </a:moveTo>
                  <a:lnTo>
                    <a:pt x="232" y="360"/>
                  </a:lnTo>
                  <a:lnTo>
                    <a:pt x="223" y="357"/>
                  </a:lnTo>
                  <a:lnTo>
                    <a:pt x="216" y="353"/>
                  </a:lnTo>
                  <a:lnTo>
                    <a:pt x="209" y="347"/>
                  </a:lnTo>
                  <a:lnTo>
                    <a:pt x="204" y="341"/>
                  </a:lnTo>
                  <a:lnTo>
                    <a:pt x="199" y="333"/>
                  </a:lnTo>
                  <a:lnTo>
                    <a:pt x="196" y="325"/>
                  </a:lnTo>
                  <a:lnTo>
                    <a:pt x="195" y="315"/>
                  </a:lnTo>
                  <a:lnTo>
                    <a:pt x="196" y="306"/>
                  </a:lnTo>
                  <a:lnTo>
                    <a:pt x="199" y="298"/>
                  </a:lnTo>
                  <a:lnTo>
                    <a:pt x="204" y="290"/>
                  </a:lnTo>
                  <a:lnTo>
                    <a:pt x="209" y="284"/>
                  </a:lnTo>
                  <a:lnTo>
                    <a:pt x="216" y="277"/>
                  </a:lnTo>
                  <a:lnTo>
                    <a:pt x="223" y="274"/>
                  </a:lnTo>
                  <a:lnTo>
                    <a:pt x="232" y="271"/>
                  </a:lnTo>
                  <a:lnTo>
                    <a:pt x="241" y="270"/>
                  </a:lnTo>
                  <a:lnTo>
                    <a:pt x="250" y="271"/>
                  </a:lnTo>
                  <a:lnTo>
                    <a:pt x="258" y="274"/>
                  </a:lnTo>
                  <a:lnTo>
                    <a:pt x="266" y="277"/>
                  </a:lnTo>
                  <a:lnTo>
                    <a:pt x="272" y="284"/>
                  </a:lnTo>
                  <a:lnTo>
                    <a:pt x="278" y="290"/>
                  </a:lnTo>
                  <a:lnTo>
                    <a:pt x="282" y="298"/>
                  </a:lnTo>
                  <a:lnTo>
                    <a:pt x="285" y="306"/>
                  </a:lnTo>
                  <a:lnTo>
                    <a:pt x="286" y="315"/>
                  </a:lnTo>
                  <a:lnTo>
                    <a:pt x="285" y="325"/>
                  </a:lnTo>
                  <a:lnTo>
                    <a:pt x="282" y="333"/>
                  </a:lnTo>
                  <a:lnTo>
                    <a:pt x="278" y="341"/>
                  </a:lnTo>
                  <a:lnTo>
                    <a:pt x="272" y="347"/>
                  </a:lnTo>
                  <a:lnTo>
                    <a:pt x="266" y="353"/>
                  </a:lnTo>
                  <a:lnTo>
                    <a:pt x="258" y="357"/>
                  </a:lnTo>
                  <a:lnTo>
                    <a:pt x="250" y="360"/>
                  </a:lnTo>
                  <a:lnTo>
                    <a:pt x="241" y="360"/>
                  </a:lnTo>
                  <a:lnTo>
                    <a:pt x="241" y="360"/>
                  </a:lnTo>
                  <a:close/>
                  <a:moveTo>
                    <a:pt x="888" y="285"/>
                  </a:moveTo>
                  <a:lnTo>
                    <a:pt x="885" y="286"/>
                  </a:lnTo>
                  <a:lnTo>
                    <a:pt x="883" y="286"/>
                  </a:lnTo>
                  <a:lnTo>
                    <a:pt x="879" y="288"/>
                  </a:lnTo>
                  <a:lnTo>
                    <a:pt x="877" y="289"/>
                  </a:lnTo>
                  <a:lnTo>
                    <a:pt x="875" y="291"/>
                  </a:lnTo>
                  <a:lnTo>
                    <a:pt x="874" y="295"/>
                  </a:lnTo>
                  <a:lnTo>
                    <a:pt x="873" y="297"/>
                  </a:lnTo>
                  <a:lnTo>
                    <a:pt x="873" y="300"/>
                  </a:lnTo>
                  <a:lnTo>
                    <a:pt x="872" y="311"/>
                  </a:lnTo>
                  <a:lnTo>
                    <a:pt x="870" y="320"/>
                  </a:lnTo>
                  <a:lnTo>
                    <a:pt x="866" y="330"/>
                  </a:lnTo>
                  <a:lnTo>
                    <a:pt x="860" y="339"/>
                  </a:lnTo>
                  <a:lnTo>
                    <a:pt x="853" y="345"/>
                  </a:lnTo>
                  <a:lnTo>
                    <a:pt x="845" y="351"/>
                  </a:lnTo>
                  <a:lnTo>
                    <a:pt x="837" y="356"/>
                  </a:lnTo>
                  <a:lnTo>
                    <a:pt x="827" y="359"/>
                  </a:lnTo>
                  <a:lnTo>
                    <a:pt x="826" y="343"/>
                  </a:lnTo>
                  <a:lnTo>
                    <a:pt x="823" y="328"/>
                  </a:lnTo>
                  <a:lnTo>
                    <a:pt x="820" y="313"/>
                  </a:lnTo>
                  <a:lnTo>
                    <a:pt x="816" y="298"/>
                  </a:lnTo>
                  <a:lnTo>
                    <a:pt x="811" y="284"/>
                  </a:lnTo>
                  <a:lnTo>
                    <a:pt x="805" y="269"/>
                  </a:lnTo>
                  <a:lnTo>
                    <a:pt x="799" y="255"/>
                  </a:lnTo>
                  <a:lnTo>
                    <a:pt x="793" y="242"/>
                  </a:lnTo>
                  <a:lnTo>
                    <a:pt x="784" y="228"/>
                  </a:lnTo>
                  <a:lnTo>
                    <a:pt x="775" y="215"/>
                  </a:lnTo>
                  <a:lnTo>
                    <a:pt x="767" y="203"/>
                  </a:lnTo>
                  <a:lnTo>
                    <a:pt x="757" y="191"/>
                  </a:lnTo>
                  <a:lnTo>
                    <a:pt x="746" y="179"/>
                  </a:lnTo>
                  <a:lnTo>
                    <a:pt x="735" y="168"/>
                  </a:lnTo>
                  <a:lnTo>
                    <a:pt x="723" y="157"/>
                  </a:lnTo>
                  <a:lnTo>
                    <a:pt x="711" y="147"/>
                  </a:lnTo>
                  <a:lnTo>
                    <a:pt x="698" y="137"/>
                  </a:lnTo>
                  <a:lnTo>
                    <a:pt x="684" y="127"/>
                  </a:lnTo>
                  <a:lnTo>
                    <a:pt x="670" y="119"/>
                  </a:lnTo>
                  <a:lnTo>
                    <a:pt x="656" y="110"/>
                  </a:lnTo>
                  <a:lnTo>
                    <a:pt x="641" y="103"/>
                  </a:lnTo>
                  <a:lnTo>
                    <a:pt x="625" y="95"/>
                  </a:lnTo>
                  <a:lnTo>
                    <a:pt x="610" y="89"/>
                  </a:lnTo>
                  <a:lnTo>
                    <a:pt x="594" y="83"/>
                  </a:lnTo>
                  <a:lnTo>
                    <a:pt x="577" y="78"/>
                  </a:lnTo>
                  <a:lnTo>
                    <a:pt x="560" y="73"/>
                  </a:lnTo>
                  <a:lnTo>
                    <a:pt x="543" y="68"/>
                  </a:lnTo>
                  <a:lnTo>
                    <a:pt x="526" y="65"/>
                  </a:lnTo>
                  <a:lnTo>
                    <a:pt x="507" y="63"/>
                  </a:lnTo>
                  <a:lnTo>
                    <a:pt x="489" y="61"/>
                  </a:lnTo>
                  <a:lnTo>
                    <a:pt x="471" y="60"/>
                  </a:lnTo>
                  <a:lnTo>
                    <a:pt x="452" y="60"/>
                  </a:lnTo>
                  <a:lnTo>
                    <a:pt x="430" y="60"/>
                  </a:lnTo>
                  <a:lnTo>
                    <a:pt x="409" y="61"/>
                  </a:lnTo>
                  <a:lnTo>
                    <a:pt x="387" y="62"/>
                  </a:lnTo>
                  <a:lnTo>
                    <a:pt x="366" y="65"/>
                  </a:lnTo>
                  <a:lnTo>
                    <a:pt x="360" y="58"/>
                  </a:lnTo>
                  <a:lnTo>
                    <a:pt x="355" y="50"/>
                  </a:lnTo>
                  <a:lnTo>
                    <a:pt x="349" y="44"/>
                  </a:lnTo>
                  <a:lnTo>
                    <a:pt x="342" y="37"/>
                  </a:lnTo>
                  <a:lnTo>
                    <a:pt x="335" y="32"/>
                  </a:lnTo>
                  <a:lnTo>
                    <a:pt x="328" y="26"/>
                  </a:lnTo>
                  <a:lnTo>
                    <a:pt x="321" y="21"/>
                  </a:lnTo>
                  <a:lnTo>
                    <a:pt x="312" y="17"/>
                  </a:lnTo>
                  <a:lnTo>
                    <a:pt x="305" y="12"/>
                  </a:lnTo>
                  <a:lnTo>
                    <a:pt x="296" y="9"/>
                  </a:lnTo>
                  <a:lnTo>
                    <a:pt x="287" y="6"/>
                  </a:lnTo>
                  <a:lnTo>
                    <a:pt x="279" y="4"/>
                  </a:lnTo>
                  <a:lnTo>
                    <a:pt x="270" y="2"/>
                  </a:lnTo>
                  <a:lnTo>
                    <a:pt x="262" y="1"/>
                  </a:lnTo>
                  <a:lnTo>
                    <a:pt x="252" y="0"/>
                  </a:lnTo>
                  <a:lnTo>
                    <a:pt x="242" y="0"/>
                  </a:lnTo>
                  <a:lnTo>
                    <a:pt x="233" y="0"/>
                  </a:lnTo>
                  <a:lnTo>
                    <a:pt x="223" y="1"/>
                  </a:lnTo>
                  <a:lnTo>
                    <a:pt x="215" y="2"/>
                  </a:lnTo>
                  <a:lnTo>
                    <a:pt x="205" y="4"/>
                  </a:lnTo>
                  <a:lnTo>
                    <a:pt x="195" y="7"/>
                  </a:lnTo>
                  <a:lnTo>
                    <a:pt x="187" y="10"/>
                  </a:lnTo>
                  <a:lnTo>
                    <a:pt x="177" y="15"/>
                  </a:lnTo>
                  <a:lnTo>
                    <a:pt x="169" y="19"/>
                  </a:lnTo>
                  <a:lnTo>
                    <a:pt x="166" y="21"/>
                  </a:lnTo>
                  <a:lnTo>
                    <a:pt x="163" y="24"/>
                  </a:lnTo>
                  <a:lnTo>
                    <a:pt x="162" y="29"/>
                  </a:lnTo>
                  <a:lnTo>
                    <a:pt x="161" y="32"/>
                  </a:lnTo>
                  <a:lnTo>
                    <a:pt x="162" y="36"/>
                  </a:lnTo>
                  <a:lnTo>
                    <a:pt x="163" y="39"/>
                  </a:lnTo>
                  <a:lnTo>
                    <a:pt x="166" y="42"/>
                  </a:lnTo>
                  <a:lnTo>
                    <a:pt x="169" y="46"/>
                  </a:lnTo>
                  <a:lnTo>
                    <a:pt x="179" y="52"/>
                  </a:lnTo>
                  <a:lnTo>
                    <a:pt x="189" y="60"/>
                  </a:lnTo>
                  <a:lnTo>
                    <a:pt x="197" y="68"/>
                  </a:lnTo>
                  <a:lnTo>
                    <a:pt x="205" y="77"/>
                  </a:lnTo>
                  <a:lnTo>
                    <a:pt x="211" y="88"/>
                  </a:lnTo>
                  <a:lnTo>
                    <a:pt x="217" y="98"/>
                  </a:lnTo>
                  <a:lnTo>
                    <a:pt x="222" y="109"/>
                  </a:lnTo>
                  <a:lnTo>
                    <a:pt x="225" y="121"/>
                  </a:lnTo>
                  <a:lnTo>
                    <a:pt x="210" y="130"/>
                  </a:lnTo>
                  <a:lnTo>
                    <a:pt x="197" y="141"/>
                  </a:lnTo>
                  <a:lnTo>
                    <a:pt x="183" y="152"/>
                  </a:lnTo>
                  <a:lnTo>
                    <a:pt x="172" y="163"/>
                  </a:lnTo>
                  <a:lnTo>
                    <a:pt x="160" y="174"/>
                  </a:lnTo>
                  <a:lnTo>
                    <a:pt x="148" y="187"/>
                  </a:lnTo>
                  <a:lnTo>
                    <a:pt x="138" y="200"/>
                  </a:lnTo>
                  <a:lnTo>
                    <a:pt x="128" y="213"/>
                  </a:lnTo>
                  <a:lnTo>
                    <a:pt x="119" y="227"/>
                  </a:lnTo>
                  <a:lnTo>
                    <a:pt x="110" y="241"/>
                  </a:lnTo>
                  <a:lnTo>
                    <a:pt x="103" y="255"/>
                  </a:lnTo>
                  <a:lnTo>
                    <a:pt x="97" y="270"/>
                  </a:lnTo>
                  <a:lnTo>
                    <a:pt x="90" y="285"/>
                  </a:lnTo>
                  <a:lnTo>
                    <a:pt x="85" y="300"/>
                  </a:lnTo>
                  <a:lnTo>
                    <a:pt x="80" y="315"/>
                  </a:lnTo>
                  <a:lnTo>
                    <a:pt x="77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10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7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496"/>
                  </a:lnTo>
                  <a:lnTo>
                    <a:pt x="0" y="499"/>
                  </a:lnTo>
                  <a:lnTo>
                    <a:pt x="1" y="502"/>
                  </a:lnTo>
                  <a:lnTo>
                    <a:pt x="2" y="505"/>
                  </a:lnTo>
                  <a:lnTo>
                    <a:pt x="4" y="507"/>
                  </a:lnTo>
                  <a:lnTo>
                    <a:pt x="6" y="508"/>
                  </a:lnTo>
                  <a:lnTo>
                    <a:pt x="10" y="510"/>
                  </a:lnTo>
                  <a:lnTo>
                    <a:pt x="12" y="511"/>
                  </a:lnTo>
                  <a:lnTo>
                    <a:pt x="15" y="511"/>
                  </a:lnTo>
                  <a:lnTo>
                    <a:pt x="110" y="511"/>
                  </a:lnTo>
                  <a:lnTo>
                    <a:pt x="118" y="525"/>
                  </a:lnTo>
                  <a:lnTo>
                    <a:pt x="125" y="538"/>
                  </a:lnTo>
                  <a:lnTo>
                    <a:pt x="134" y="551"/>
                  </a:lnTo>
                  <a:lnTo>
                    <a:pt x="144" y="564"/>
                  </a:lnTo>
                  <a:lnTo>
                    <a:pt x="153" y="576"/>
                  </a:lnTo>
                  <a:lnTo>
                    <a:pt x="164" y="587"/>
                  </a:lnTo>
                  <a:lnTo>
                    <a:pt x="175" y="598"/>
                  </a:lnTo>
                  <a:lnTo>
                    <a:pt x="187" y="608"/>
                  </a:lnTo>
                  <a:lnTo>
                    <a:pt x="199" y="617"/>
                  </a:lnTo>
                  <a:lnTo>
                    <a:pt x="212" y="627"/>
                  </a:lnTo>
                  <a:lnTo>
                    <a:pt x="225" y="636"/>
                  </a:lnTo>
                  <a:lnTo>
                    <a:pt x="240" y="643"/>
                  </a:lnTo>
                  <a:lnTo>
                    <a:pt x="254" y="651"/>
                  </a:lnTo>
                  <a:lnTo>
                    <a:pt x="269" y="657"/>
                  </a:lnTo>
                  <a:lnTo>
                    <a:pt x="285" y="664"/>
                  </a:lnTo>
                  <a:lnTo>
                    <a:pt x="301" y="669"/>
                  </a:lnTo>
                  <a:lnTo>
                    <a:pt x="301" y="767"/>
                  </a:lnTo>
                  <a:lnTo>
                    <a:pt x="301" y="770"/>
                  </a:lnTo>
                  <a:lnTo>
                    <a:pt x="302" y="773"/>
                  </a:lnTo>
                  <a:lnTo>
                    <a:pt x="304" y="775"/>
                  </a:lnTo>
                  <a:lnTo>
                    <a:pt x="306" y="777"/>
                  </a:lnTo>
                  <a:lnTo>
                    <a:pt x="308" y="779"/>
                  </a:lnTo>
                  <a:lnTo>
                    <a:pt x="310" y="780"/>
                  </a:lnTo>
                  <a:lnTo>
                    <a:pt x="313" y="782"/>
                  </a:lnTo>
                  <a:lnTo>
                    <a:pt x="316" y="782"/>
                  </a:lnTo>
                  <a:lnTo>
                    <a:pt x="320" y="782"/>
                  </a:lnTo>
                  <a:lnTo>
                    <a:pt x="322" y="780"/>
                  </a:lnTo>
                  <a:lnTo>
                    <a:pt x="325" y="779"/>
                  </a:lnTo>
                  <a:lnTo>
                    <a:pt x="327" y="777"/>
                  </a:lnTo>
                  <a:lnTo>
                    <a:pt x="328" y="775"/>
                  </a:lnTo>
                  <a:lnTo>
                    <a:pt x="330" y="773"/>
                  </a:lnTo>
                  <a:lnTo>
                    <a:pt x="331" y="770"/>
                  </a:lnTo>
                  <a:lnTo>
                    <a:pt x="331" y="767"/>
                  </a:lnTo>
                  <a:lnTo>
                    <a:pt x="331" y="678"/>
                  </a:lnTo>
                  <a:lnTo>
                    <a:pt x="359" y="684"/>
                  </a:lnTo>
                  <a:lnTo>
                    <a:pt x="389" y="688"/>
                  </a:lnTo>
                  <a:lnTo>
                    <a:pt x="419" y="690"/>
                  </a:lnTo>
                  <a:lnTo>
                    <a:pt x="452" y="691"/>
                  </a:lnTo>
                  <a:lnTo>
                    <a:pt x="468" y="691"/>
                  </a:lnTo>
                  <a:lnTo>
                    <a:pt x="483" y="690"/>
                  </a:lnTo>
                  <a:lnTo>
                    <a:pt x="499" y="689"/>
                  </a:lnTo>
                  <a:lnTo>
                    <a:pt x="514" y="687"/>
                  </a:lnTo>
                  <a:lnTo>
                    <a:pt x="543" y="682"/>
                  </a:lnTo>
                  <a:lnTo>
                    <a:pt x="572" y="675"/>
                  </a:lnTo>
                  <a:lnTo>
                    <a:pt x="572" y="767"/>
                  </a:lnTo>
                  <a:lnTo>
                    <a:pt x="573" y="770"/>
                  </a:lnTo>
                  <a:lnTo>
                    <a:pt x="573" y="773"/>
                  </a:lnTo>
                  <a:lnTo>
                    <a:pt x="575" y="775"/>
                  </a:lnTo>
                  <a:lnTo>
                    <a:pt x="576" y="777"/>
                  </a:lnTo>
                  <a:lnTo>
                    <a:pt x="579" y="779"/>
                  </a:lnTo>
                  <a:lnTo>
                    <a:pt x="581" y="780"/>
                  </a:lnTo>
                  <a:lnTo>
                    <a:pt x="585" y="782"/>
                  </a:lnTo>
                  <a:lnTo>
                    <a:pt x="587" y="782"/>
                  </a:lnTo>
                  <a:lnTo>
                    <a:pt x="590" y="782"/>
                  </a:lnTo>
                  <a:lnTo>
                    <a:pt x="593" y="780"/>
                  </a:lnTo>
                  <a:lnTo>
                    <a:pt x="595" y="779"/>
                  </a:lnTo>
                  <a:lnTo>
                    <a:pt x="597" y="777"/>
                  </a:lnTo>
                  <a:lnTo>
                    <a:pt x="600" y="775"/>
                  </a:lnTo>
                  <a:lnTo>
                    <a:pt x="601" y="773"/>
                  </a:lnTo>
                  <a:lnTo>
                    <a:pt x="602" y="770"/>
                  </a:lnTo>
                  <a:lnTo>
                    <a:pt x="602" y="767"/>
                  </a:lnTo>
                  <a:lnTo>
                    <a:pt x="602" y="665"/>
                  </a:lnTo>
                  <a:lnTo>
                    <a:pt x="625" y="655"/>
                  </a:lnTo>
                  <a:lnTo>
                    <a:pt x="648" y="644"/>
                  </a:lnTo>
                  <a:lnTo>
                    <a:pt x="669" y="632"/>
                  </a:lnTo>
                  <a:lnTo>
                    <a:pt x="690" y="620"/>
                  </a:lnTo>
                  <a:lnTo>
                    <a:pt x="709" y="605"/>
                  </a:lnTo>
                  <a:lnTo>
                    <a:pt x="727" y="590"/>
                  </a:lnTo>
                  <a:lnTo>
                    <a:pt x="744" y="573"/>
                  </a:lnTo>
                  <a:lnTo>
                    <a:pt x="759" y="555"/>
                  </a:lnTo>
                  <a:lnTo>
                    <a:pt x="773" y="537"/>
                  </a:lnTo>
                  <a:lnTo>
                    <a:pt x="786" y="519"/>
                  </a:lnTo>
                  <a:lnTo>
                    <a:pt x="797" y="498"/>
                  </a:lnTo>
                  <a:lnTo>
                    <a:pt x="807" y="478"/>
                  </a:lnTo>
                  <a:lnTo>
                    <a:pt x="814" y="457"/>
                  </a:lnTo>
                  <a:lnTo>
                    <a:pt x="820" y="435"/>
                  </a:lnTo>
                  <a:lnTo>
                    <a:pt x="825" y="413"/>
                  </a:lnTo>
                  <a:lnTo>
                    <a:pt x="827" y="389"/>
                  </a:lnTo>
                  <a:lnTo>
                    <a:pt x="834" y="388"/>
                  </a:lnTo>
                  <a:lnTo>
                    <a:pt x="843" y="386"/>
                  </a:lnTo>
                  <a:lnTo>
                    <a:pt x="850" y="383"/>
                  </a:lnTo>
                  <a:lnTo>
                    <a:pt x="857" y="379"/>
                  </a:lnTo>
                  <a:lnTo>
                    <a:pt x="864" y="375"/>
                  </a:lnTo>
                  <a:lnTo>
                    <a:pt x="870" y="371"/>
                  </a:lnTo>
                  <a:lnTo>
                    <a:pt x="876" y="365"/>
                  </a:lnTo>
                  <a:lnTo>
                    <a:pt x="882" y="360"/>
                  </a:lnTo>
                  <a:lnTo>
                    <a:pt x="886" y="354"/>
                  </a:lnTo>
                  <a:lnTo>
                    <a:pt x="890" y="347"/>
                  </a:lnTo>
                  <a:lnTo>
                    <a:pt x="894" y="340"/>
                  </a:lnTo>
                  <a:lnTo>
                    <a:pt x="898" y="333"/>
                  </a:lnTo>
                  <a:lnTo>
                    <a:pt x="900" y="325"/>
                  </a:lnTo>
                  <a:lnTo>
                    <a:pt x="902" y="317"/>
                  </a:lnTo>
                  <a:lnTo>
                    <a:pt x="903" y="309"/>
                  </a:lnTo>
                  <a:lnTo>
                    <a:pt x="903" y="300"/>
                  </a:lnTo>
                  <a:lnTo>
                    <a:pt x="903" y="297"/>
                  </a:lnTo>
                  <a:lnTo>
                    <a:pt x="902" y="295"/>
                  </a:lnTo>
                  <a:lnTo>
                    <a:pt x="901" y="291"/>
                  </a:lnTo>
                  <a:lnTo>
                    <a:pt x="899" y="289"/>
                  </a:lnTo>
                  <a:lnTo>
                    <a:pt x="897" y="288"/>
                  </a:lnTo>
                  <a:lnTo>
                    <a:pt x="894" y="286"/>
                  </a:lnTo>
                  <a:lnTo>
                    <a:pt x="891" y="286"/>
                  </a:lnTo>
                  <a:lnTo>
                    <a:pt x="888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AD477E7D-D9A6-4D44-8C4D-C95FC3F102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74499" y="5511954"/>
            <a:ext cx="326443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A3606D1-B6B8-4F5C-AC8B-ECE2ABC418C3}"/>
              </a:ext>
            </a:extLst>
          </p:cNvPr>
          <p:cNvSpPr/>
          <p:nvPr/>
        </p:nvSpPr>
        <p:spPr>
          <a:xfrm>
            <a:off x="6224397" y="5435301"/>
            <a:ext cx="889299" cy="88929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9819DAAD-B642-49C5-9475-AC9CE17972E4}"/>
              </a:ext>
            </a:extLst>
          </p:cNvPr>
          <p:cNvGrpSpPr/>
          <p:nvPr/>
        </p:nvGrpSpPr>
        <p:grpSpPr>
          <a:xfrm>
            <a:off x="6526964" y="5737869"/>
            <a:ext cx="284163" cy="284163"/>
            <a:chOff x="2613272" y="4772729"/>
            <a:chExt cx="284163" cy="284163"/>
          </a:xfrm>
          <a:solidFill>
            <a:schemeClr val="bg1"/>
          </a:solidFill>
        </p:grpSpPr>
        <p:sp>
          <p:nvSpPr>
            <p:cNvPr id="203" name="Rectangle 4405">
              <a:extLst>
                <a:ext uri="{FF2B5EF4-FFF2-40B4-BE49-F238E27FC236}">
                  <a16:creationId xmlns:a16="http://schemas.microsoft.com/office/drawing/2014/main" id="{59B5FA85-58BE-47FC-9D41-04969B861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6147" y="4963229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4406">
              <a:extLst>
                <a:ext uri="{FF2B5EF4-FFF2-40B4-BE49-F238E27FC236}">
                  <a16:creationId xmlns:a16="http://schemas.microsoft.com/office/drawing/2014/main" id="{152301EC-7857-45F8-BB75-6D4842A90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9472" y="4963229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Rectangle 4407">
              <a:extLst>
                <a:ext uri="{FF2B5EF4-FFF2-40B4-BE49-F238E27FC236}">
                  <a16:creationId xmlns:a16="http://schemas.microsoft.com/office/drawing/2014/main" id="{4FCA5E14-196A-4365-B18B-FB9F67A80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9472" y="4915604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4408">
              <a:extLst>
                <a:ext uri="{FF2B5EF4-FFF2-40B4-BE49-F238E27FC236}">
                  <a16:creationId xmlns:a16="http://schemas.microsoft.com/office/drawing/2014/main" id="{3DF1DC26-A650-4CA1-B924-B121C971B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6147" y="4915604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4409">
              <a:extLst>
                <a:ext uri="{FF2B5EF4-FFF2-40B4-BE49-F238E27FC236}">
                  <a16:creationId xmlns:a16="http://schemas.microsoft.com/office/drawing/2014/main" id="{421E2E9B-25AB-4781-B163-238C59DFD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272" y="4772729"/>
              <a:ext cx="284163" cy="85725"/>
            </a:xfrm>
            <a:custGeom>
              <a:avLst/>
              <a:gdLst>
                <a:gd name="T0" fmla="*/ 628 w 897"/>
                <a:gd name="T1" fmla="*/ 149 h 269"/>
                <a:gd name="T2" fmla="*/ 717 w 897"/>
                <a:gd name="T3" fmla="*/ 30 h 269"/>
                <a:gd name="T4" fmla="*/ 269 w 897"/>
                <a:gd name="T5" fmla="*/ 149 h 269"/>
                <a:gd name="T6" fmla="*/ 179 w 897"/>
                <a:gd name="T7" fmla="*/ 30 h 269"/>
                <a:gd name="T8" fmla="*/ 269 w 897"/>
                <a:gd name="T9" fmla="*/ 149 h 269"/>
                <a:gd name="T10" fmla="*/ 747 w 897"/>
                <a:gd name="T11" fmla="*/ 60 h 269"/>
                <a:gd name="T12" fmla="*/ 747 w 897"/>
                <a:gd name="T13" fmla="*/ 12 h 269"/>
                <a:gd name="T14" fmla="*/ 745 w 897"/>
                <a:gd name="T15" fmla="*/ 6 h 269"/>
                <a:gd name="T16" fmla="*/ 741 w 897"/>
                <a:gd name="T17" fmla="*/ 2 h 269"/>
                <a:gd name="T18" fmla="*/ 735 w 897"/>
                <a:gd name="T19" fmla="*/ 0 h 269"/>
                <a:gd name="T20" fmla="*/ 613 w 897"/>
                <a:gd name="T21" fmla="*/ 0 h 269"/>
                <a:gd name="T22" fmla="*/ 607 w 897"/>
                <a:gd name="T23" fmla="*/ 1 h 269"/>
                <a:gd name="T24" fmla="*/ 603 w 897"/>
                <a:gd name="T25" fmla="*/ 4 h 269"/>
                <a:gd name="T26" fmla="*/ 600 w 897"/>
                <a:gd name="T27" fmla="*/ 10 h 269"/>
                <a:gd name="T28" fmla="*/ 598 w 897"/>
                <a:gd name="T29" fmla="*/ 15 h 269"/>
                <a:gd name="T30" fmla="*/ 299 w 897"/>
                <a:gd name="T31" fmla="*/ 60 h 269"/>
                <a:gd name="T32" fmla="*/ 299 w 897"/>
                <a:gd name="T33" fmla="*/ 12 h 269"/>
                <a:gd name="T34" fmla="*/ 297 w 897"/>
                <a:gd name="T35" fmla="*/ 6 h 269"/>
                <a:gd name="T36" fmla="*/ 292 w 897"/>
                <a:gd name="T37" fmla="*/ 2 h 269"/>
                <a:gd name="T38" fmla="*/ 287 w 897"/>
                <a:gd name="T39" fmla="*/ 0 h 269"/>
                <a:gd name="T40" fmla="*/ 164 w 897"/>
                <a:gd name="T41" fmla="*/ 0 h 269"/>
                <a:gd name="T42" fmla="*/ 159 w 897"/>
                <a:gd name="T43" fmla="*/ 1 h 269"/>
                <a:gd name="T44" fmla="*/ 153 w 897"/>
                <a:gd name="T45" fmla="*/ 4 h 269"/>
                <a:gd name="T46" fmla="*/ 150 w 897"/>
                <a:gd name="T47" fmla="*/ 10 h 269"/>
                <a:gd name="T48" fmla="*/ 149 w 897"/>
                <a:gd name="T49" fmla="*/ 15 h 269"/>
                <a:gd name="T50" fmla="*/ 15 w 897"/>
                <a:gd name="T51" fmla="*/ 60 h 269"/>
                <a:gd name="T52" fmla="*/ 9 w 897"/>
                <a:gd name="T53" fmla="*/ 61 h 269"/>
                <a:gd name="T54" fmla="*/ 5 w 897"/>
                <a:gd name="T55" fmla="*/ 64 h 269"/>
                <a:gd name="T56" fmla="*/ 1 w 897"/>
                <a:gd name="T57" fmla="*/ 68 h 269"/>
                <a:gd name="T58" fmla="*/ 0 w 897"/>
                <a:gd name="T59" fmla="*/ 75 h 269"/>
                <a:gd name="T60" fmla="*/ 897 w 897"/>
                <a:gd name="T61" fmla="*/ 269 h 269"/>
                <a:gd name="T62" fmla="*/ 897 w 897"/>
                <a:gd name="T63" fmla="*/ 72 h 269"/>
                <a:gd name="T64" fmla="*/ 895 w 897"/>
                <a:gd name="T65" fmla="*/ 66 h 269"/>
                <a:gd name="T66" fmla="*/ 891 w 897"/>
                <a:gd name="T67" fmla="*/ 62 h 269"/>
                <a:gd name="T68" fmla="*/ 885 w 897"/>
                <a:gd name="T69" fmla="*/ 6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7" h="269">
                  <a:moveTo>
                    <a:pt x="717" y="149"/>
                  </a:moveTo>
                  <a:lnTo>
                    <a:pt x="628" y="149"/>
                  </a:lnTo>
                  <a:lnTo>
                    <a:pt x="628" y="30"/>
                  </a:lnTo>
                  <a:lnTo>
                    <a:pt x="717" y="30"/>
                  </a:lnTo>
                  <a:lnTo>
                    <a:pt x="717" y="149"/>
                  </a:lnTo>
                  <a:close/>
                  <a:moveTo>
                    <a:pt x="269" y="149"/>
                  </a:moveTo>
                  <a:lnTo>
                    <a:pt x="179" y="149"/>
                  </a:lnTo>
                  <a:lnTo>
                    <a:pt x="179" y="30"/>
                  </a:lnTo>
                  <a:lnTo>
                    <a:pt x="269" y="30"/>
                  </a:lnTo>
                  <a:lnTo>
                    <a:pt x="269" y="149"/>
                  </a:lnTo>
                  <a:close/>
                  <a:moveTo>
                    <a:pt x="882" y="60"/>
                  </a:moveTo>
                  <a:lnTo>
                    <a:pt x="747" y="60"/>
                  </a:lnTo>
                  <a:lnTo>
                    <a:pt x="747" y="15"/>
                  </a:lnTo>
                  <a:lnTo>
                    <a:pt x="747" y="12"/>
                  </a:lnTo>
                  <a:lnTo>
                    <a:pt x="746" y="10"/>
                  </a:lnTo>
                  <a:lnTo>
                    <a:pt x="745" y="6"/>
                  </a:lnTo>
                  <a:lnTo>
                    <a:pt x="743" y="4"/>
                  </a:lnTo>
                  <a:lnTo>
                    <a:pt x="741" y="2"/>
                  </a:lnTo>
                  <a:lnTo>
                    <a:pt x="739" y="1"/>
                  </a:lnTo>
                  <a:lnTo>
                    <a:pt x="735" y="0"/>
                  </a:lnTo>
                  <a:lnTo>
                    <a:pt x="732" y="0"/>
                  </a:lnTo>
                  <a:lnTo>
                    <a:pt x="613" y="0"/>
                  </a:lnTo>
                  <a:lnTo>
                    <a:pt x="610" y="0"/>
                  </a:lnTo>
                  <a:lnTo>
                    <a:pt x="607" y="1"/>
                  </a:lnTo>
                  <a:lnTo>
                    <a:pt x="605" y="2"/>
                  </a:lnTo>
                  <a:lnTo>
                    <a:pt x="603" y="4"/>
                  </a:lnTo>
                  <a:lnTo>
                    <a:pt x="601" y="6"/>
                  </a:lnTo>
                  <a:lnTo>
                    <a:pt x="600" y="10"/>
                  </a:lnTo>
                  <a:lnTo>
                    <a:pt x="598" y="12"/>
                  </a:lnTo>
                  <a:lnTo>
                    <a:pt x="598" y="15"/>
                  </a:lnTo>
                  <a:lnTo>
                    <a:pt x="598" y="60"/>
                  </a:lnTo>
                  <a:lnTo>
                    <a:pt x="299" y="60"/>
                  </a:lnTo>
                  <a:lnTo>
                    <a:pt x="299" y="15"/>
                  </a:lnTo>
                  <a:lnTo>
                    <a:pt x="299" y="12"/>
                  </a:lnTo>
                  <a:lnTo>
                    <a:pt x="298" y="10"/>
                  </a:lnTo>
                  <a:lnTo>
                    <a:pt x="297" y="6"/>
                  </a:lnTo>
                  <a:lnTo>
                    <a:pt x="295" y="4"/>
                  </a:lnTo>
                  <a:lnTo>
                    <a:pt x="292" y="2"/>
                  </a:lnTo>
                  <a:lnTo>
                    <a:pt x="290" y="1"/>
                  </a:lnTo>
                  <a:lnTo>
                    <a:pt x="287" y="0"/>
                  </a:lnTo>
                  <a:lnTo>
                    <a:pt x="284" y="0"/>
                  </a:lnTo>
                  <a:lnTo>
                    <a:pt x="164" y="0"/>
                  </a:lnTo>
                  <a:lnTo>
                    <a:pt x="161" y="0"/>
                  </a:lnTo>
                  <a:lnTo>
                    <a:pt x="159" y="1"/>
                  </a:lnTo>
                  <a:lnTo>
                    <a:pt x="155" y="2"/>
                  </a:lnTo>
                  <a:lnTo>
                    <a:pt x="153" y="4"/>
                  </a:lnTo>
                  <a:lnTo>
                    <a:pt x="152" y="6"/>
                  </a:lnTo>
                  <a:lnTo>
                    <a:pt x="150" y="10"/>
                  </a:lnTo>
                  <a:lnTo>
                    <a:pt x="150" y="12"/>
                  </a:lnTo>
                  <a:lnTo>
                    <a:pt x="149" y="15"/>
                  </a:lnTo>
                  <a:lnTo>
                    <a:pt x="149" y="60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9" y="61"/>
                  </a:lnTo>
                  <a:lnTo>
                    <a:pt x="7" y="62"/>
                  </a:lnTo>
                  <a:lnTo>
                    <a:pt x="5" y="64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72"/>
                  </a:lnTo>
                  <a:lnTo>
                    <a:pt x="0" y="75"/>
                  </a:lnTo>
                  <a:lnTo>
                    <a:pt x="0" y="269"/>
                  </a:lnTo>
                  <a:lnTo>
                    <a:pt x="897" y="269"/>
                  </a:lnTo>
                  <a:lnTo>
                    <a:pt x="897" y="75"/>
                  </a:lnTo>
                  <a:lnTo>
                    <a:pt x="897" y="72"/>
                  </a:lnTo>
                  <a:lnTo>
                    <a:pt x="896" y="68"/>
                  </a:lnTo>
                  <a:lnTo>
                    <a:pt x="895" y="66"/>
                  </a:lnTo>
                  <a:lnTo>
                    <a:pt x="893" y="64"/>
                  </a:lnTo>
                  <a:lnTo>
                    <a:pt x="891" y="62"/>
                  </a:lnTo>
                  <a:lnTo>
                    <a:pt x="888" y="61"/>
                  </a:lnTo>
                  <a:lnTo>
                    <a:pt x="885" y="60"/>
                  </a:lnTo>
                  <a:lnTo>
                    <a:pt x="88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4410">
              <a:extLst>
                <a:ext uri="{FF2B5EF4-FFF2-40B4-BE49-F238E27FC236}">
                  <a16:creationId xmlns:a16="http://schemas.microsoft.com/office/drawing/2014/main" id="{E672689E-8BB5-4FC8-8EED-1F31B5024C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272" y="4867979"/>
              <a:ext cx="284163" cy="188913"/>
            </a:xfrm>
            <a:custGeom>
              <a:avLst/>
              <a:gdLst>
                <a:gd name="T0" fmla="*/ 82 w 897"/>
                <a:gd name="T1" fmla="*/ 298 h 599"/>
                <a:gd name="T2" fmla="*/ 75 w 897"/>
                <a:gd name="T3" fmla="*/ 288 h 599"/>
                <a:gd name="T4" fmla="*/ 77 w 897"/>
                <a:gd name="T5" fmla="*/ 276 h 599"/>
                <a:gd name="T6" fmla="*/ 87 w 897"/>
                <a:gd name="T7" fmla="*/ 270 h 599"/>
                <a:gd name="T8" fmla="*/ 90 w 897"/>
                <a:gd name="T9" fmla="*/ 150 h 599"/>
                <a:gd name="T10" fmla="*/ 80 w 897"/>
                <a:gd name="T11" fmla="*/ 146 h 599"/>
                <a:gd name="T12" fmla="*/ 75 w 897"/>
                <a:gd name="T13" fmla="*/ 135 h 599"/>
                <a:gd name="T14" fmla="*/ 80 w 897"/>
                <a:gd name="T15" fmla="*/ 125 h 599"/>
                <a:gd name="T16" fmla="*/ 90 w 897"/>
                <a:gd name="T17" fmla="*/ 120 h 599"/>
                <a:gd name="T18" fmla="*/ 210 w 897"/>
                <a:gd name="T19" fmla="*/ 51 h 599"/>
                <a:gd name="T20" fmla="*/ 219 w 897"/>
                <a:gd name="T21" fmla="*/ 42 h 599"/>
                <a:gd name="T22" fmla="*/ 230 w 897"/>
                <a:gd name="T23" fmla="*/ 42 h 599"/>
                <a:gd name="T24" fmla="*/ 238 w 897"/>
                <a:gd name="T25" fmla="*/ 51 h 599"/>
                <a:gd name="T26" fmla="*/ 419 w 897"/>
                <a:gd name="T27" fmla="*/ 120 h 599"/>
                <a:gd name="T28" fmla="*/ 421 w 897"/>
                <a:gd name="T29" fmla="*/ 48 h 599"/>
                <a:gd name="T30" fmla="*/ 430 w 897"/>
                <a:gd name="T31" fmla="*/ 41 h 599"/>
                <a:gd name="T32" fmla="*/ 442 w 897"/>
                <a:gd name="T33" fmla="*/ 44 h 599"/>
                <a:gd name="T34" fmla="*/ 449 w 897"/>
                <a:gd name="T35" fmla="*/ 53 h 599"/>
                <a:gd name="T36" fmla="*/ 628 w 897"/>
                <a:gd name="T37" fmla="*/ 56 h 599"/>
                <a:gd name="T38" fmla="*/ 633 w 897"/>
                <a:gd name="T39" fmla="*/ 45 h 599"/>
                <a:gd name="T40" fmla="*/ 643 w 897"/>
                <a:gd name="T41" fmla="*/ 41 h 599"/>
                <a:gd name="T42" fmla="*/ 653 w 897"/>
                <a:gd name="T43" fmla="*/ 45 h 599"/>
                <a:gd name="T44" fmla="*/ 658 w 897"/>
                <a:gd name="T45" fmla="*/ 56 h 599"/>
                <a:gd name="T46" fmla="*/ 812 w 897"/>
                <a:gd name="T47" fmla="*/ 121 h 599"/>
                <a:gd name="T48" fmla="*/ 821 w 897"/>
                <a:gd name="T49" fmla="*/ 130 h 599"/>
                <a:gd name="T50" fmla="*/ 821 w 897"/>
                <a:gd name="T51" fmla="*/ 142 h 599"/>
                <a:gd name="T52" fmla="*/ 812 w 897"/>
                <a:gd name="T53" fmla="*/ 149 h 599"/>
                <a:gd name="T54" fmla="*/ 658 w 897"/>
                <a:gd name="T55" fmla="*/ 270 h 599"/>
                <a:gd name="T56" fmla="*/ 815 w 897"/>
                <a:gd name="T57" fmla="*/ 272 h 599"/>
                <a:gd name="T58" fmla="*/ 821 w 897"/>
                <a:gd name="T59" fmla="*/ 282 h 599"/>
                <a:gd name="T60" fmla="*/ 819 w 897"/>
                <a:gd name="T61" fmla="*/ 294 h 599"/>
                <a:gd name="T62" fmla="*/ 809 w 897"/>
                <a:gd name="T63" fmla="*/ 300 h 599"/>
                <a:gd name="T64" fmla="*/ 807 w 897"/>
                <a:gd name="T65" fmla="*/ 420 h 599"/>
                <a:gd name="T66" fmla="*/ 818 w 897"/>
                <a:gd name="T67" fmla="*/ 424 h 599"/>
                <a:gd name="T68" fmla="*/ 822 w 897"/>
                <a:gd name="T69" fmla="*/ 435 h 599"/>
                <a:gd name="T70" fmla="*/ 818 w 897"/>
                <a:gd name="T71" fmla="*/ 446 h 599"/>
                <a:gd name="T72" fmla="*/ 807 w 897"/>
                <a:gd name="T73" fmla="*/ 450 h 599"/>
                <a:gd name="T74" fmla="*/ 656 w 897"/>
                <a:gd name="T75" fmla="*/ 515 h 599"/>
                <a:gd name="T76" fmla="*/ 649 w 897"/>
                <a:gd name="T77" fmla="*/ 523 h 599"/>
                <a:gd name="T78" fmla="*/ 637 w 897"/>
                <a:gd name="T79" fmla="*/ 523 h 599"/>
                <a:gd name="T80" fmla="*/ 629 w 897"/>
                <a:gd name="T81" fmla="*/ 515 h 599"/>
                <a:gd name="T82" fmla="*/ 449 w 897"/>
                <a:gd name="T83" fmla="*/ 450 h 599"/>
                <a:gd name="T84" fmla="*/ 445 w 897"/>
                <a:gd name="T85" fmla="*/ 517 h 599"/>
                <a:gd name="T86" fmla="*/ 437 w 897"/>
                <a:gd name="T87" fmla="*/ 524 h 599"/>
                <a:gd name="T88" fmla="*/ 425 w 897"/>
                <a:gd name="T89" fmla="*/ 521 h 599"/>
                <a:gd name="T90" fmla="*/ 419 w 897"/>
                <a:gd name="T91" fmla="*/ 512 h 599"/>
                <a:gd name="T92" fmla="*/ 239 w 897"/>
                <a:gd name="T93" fmla="*/ 509 h 599"/>
                <a:gd name="T94" fmla="*/ 235 w 897"/>
                <a:gd name="T95" fmla="*/ 519 h 599"/>
                <a:gd name="T96" fmla="*/ 224 w 897"/>
                <a:gd name="T97" fmla="*/ 524 h 599"/>
                <a:gd name="T98" fmla="*/ 213 w 897"/>
                <a:gd name="T99" fmla="*/ 519 h 599"/>
                <a:gd name="T100" fmla="*/ 209 w 897"/>
                <a:gd name="T101" fmla="*/ 509 h 599"/>
                <a:gd name="T102" fmla="*/ 85 w 897"/>
                <a:gd name="T103" fmla="*/ 449 h 599"/>
                <a:gd name="T104" fmla="*/ 76 w 897"/>
                <a:gd name="T105" fmla="*/ 440 h 599"/>
                <a:gd name="T106" fmla="*/ 76 w 897"/>
                <a:gd name="T107" fmla="*/ 428 h 599"/>
                <a:gd name="T108" fmla="*/ 85 w 897"/>
                <a:gd name="T109" fmla="*/ 421 h 599"/>
                <a:gd name="T110" fmla="*/ 209 w 897"/>
                <a:gd name="T111" fmla="*/ 300 h 599"/>
                <a:gd name="T112" fmla="*/ 1 w 897"/>
                <a:gd name="T113" fmla="*/ 590 h 599"/>
                <a:gd name="T114" fmla="*/ 9 w 897"/>
                <a:gd name="T115" fmla="*/ 597 h 599"/>
                <a:gd name="T116" fmla="*/ 885 w 897"/>
                <a:gd name="T117" fmla="*/ 599 h 599"/>
                <a:gd name="T118" fmla="*/ 895 w 897"/>
                <a:gd name="T119" fmla="*/ 592 h 599"/>
                <a:gd name="T120" fmla="*/ 897 w 897"/>
                <a:gd name="T121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7" h="599">
                  <a:moveTo>
                    <a:pt x="90" y="300"/>
                  </a:moveTo>
                  <a:lnTo>
                    <a:pt x="87" y="300"/>
                  </a:lnTo>
                  <a:lnTo>
                    <a:pt x="85" y="299"/>
                  </a:lnTo>
                  <a:lnTo>
                    <a:pt x="82" y="298"/>
                  </a:lnTo>
                  <a:lnTo>
                    <a:pt x="80" y="296"/>
                  </a:lnTo>
                  <a:lnTo>
                    <a:pt x="77" y="294"/>
                  </a:lnTo>
                  <a:lnTo>
                    <a:pt x="76" y="291"/>
                  </a:lnTo>
                  <a:lnTo>
                    <a:pt x="75" y="288"/>
                  </a:lnTo>
                  <a:lnTo>
                    <a:pt x="75" y="285"/>
                  </a:lnTo>
                  <a:lnTo>
                    <a:pt x="75" y="282"/>
                  </a:lnTo>
                  <a:lnTo>
                    <a:pt x="76" y="280"/>
                  </a:lnTo>
                  <a:lnTo>
                    <a:pt x="77" y="276"/>
                  </a:lnTo>
                  <a:lnTo>
                    <a:pt x="80" y="274"/>
                  </a:lnTo>
                  <a:lnTo>
                    <a:pt x="82" y="272"/>
                  </a:lnTo>
                  <a:lnTo>
                    <a:pt x="85" y="271"/>
                  </a:lnTo>
                  <a:lnTo>
                    <a:pt x="87" y="270"/>
                  </a:lnTo>
                  <a:lnTo>
                    <a:pt x="90" y="270"/>
                  </a:lnTo>
                  <a:lnTo>
                    <a:pt x="209" y="270"/>
                  </a:lnTo>
                  <a:lnTo>
                    <a:pt x="209" y="150"/>
                  </a:lnTo>
                  <a:lnTo>
                    <a:pt x="90" y="150"/>
                  </a:lnTo>
                  <a:lnTo>
                    <a:pt x="87" y="150"/>
                  </a:lnTo>
                  <a:lnTo>
                    <a:pt x="85" y="149"/>
                  </a:lnTo>
                  <a:lnTo>
                    <a:pt x="82" y="148"/>
                  </a:lnTo>
                  <a:lnTo>
                    <a:pt x="80" y="146"/>
                  </a:lnTo>
                  <a:lnTo>
                    <a:pt x="77" y="144"/>
                  </a:lnTo>
                  <a:lnTo>
                    <a:pt x="76" y="142"/>
                  </a:lnTo>
                  <a:lnTo>
                    <a:pt x="75" y="138"/>
                  </a:lnTo>
                  <a:lnTo>
                    <a:pt x="75" y="135"/>
                  </a:lnTo>
                  <a:lnTo>
                    <a:pt x="75" y="132"/>
                  </a:lnTo>
                  <a:lnTo>
                    <a:pt x="76" y="130"/>
                  </a:lnTo>
                  <a:lnTo>
                    <a:pt x="77" y="128"/>
                  </a:lnTo>
                  <a:lnTo>
                    <a:pt x="80" y="125"/>
                  </a:lnTo>
                  <a:lnTo>
                    <a:pt x="82" y="123"/>
                  </a:lnTo>
                  <a:lnTo>
                    <a:pt x="85" y="121"/>
                  </a:lnTo>
                  <a:lnTo>
                    <a:pt x="87" y="120"/>
                  </a:lnTo>
                  <a:lnTo>
                    <a:pt x="90" y="120"/>
                  </a:lnTo>
                  <a:lnTo>
                    <a:pt x="209" y="120"/>
                  </a:lnTo>
                  <a:lnTo>
                    <a:pt x="209" y="56"/>
                  </a:lnTo>
                  <a:lnTo>
                    <a:pt x="210" y="53"/>
                  </a:lnTo>
                  <a:lnTo>
                    <a:pt x="210" y="51"/>
                  </a:lnTo>
                  <a:lnTo>
                    <a:pt x="212" y="48"/>
                  </a:lnTo>
                  <a:lnTo>
                    <a:pt x="213" y="45"/>
                  </a:lnTo>
                  <a:lnTo>
                    <a:pt x="215" y="44"/>
                  </a:lnTo>
                  <a:lnTo>
                    <a:pt x="219" y="42"/>
                  </a:lnTo>
                  <a:lnTo>
                    <a:pt x="221" y="41"/>
                  </a:lnTo>
                  <a:lnTo>
                    <a:pt x="224" y="41"/>
                  </a:lnTo>
                  <a:lnTo>
                    <a:pt x="227" y="41"/>
                  </a:lnTo>
                  <a:lnTo>
                    <a:pt x="230" y="42"/>
                  </a:lnTo>
                  <a:lnTo>
                    <a:pt x="233" y="44"/>
                  </a:lnTo>
                  <a:lnTo>
                    <a:pt x="235" y="45"/>
                  </a:lnTo>
                  <a:lnTo>
                    <a:pt x="237" y="48"/>
                  </a:lnTo>
                  <a:lnTo>
                    <a:pt x="238" y="51"/>
                  </a:lnTo>
                  <a:lnTo>
                    <a:pt x="239" y="53"/>
                  </a:lnTo>
                  <a:lnTo>
                    <a:pt x="239" y="56"/>
                  </a:lnTo>
                  <a:lnTo>
                    <a:pt x="239" y="120"/>
                  </a:lnTo>
                  <a:lnTo>
                    <a:pt x="419" y="120"/>
                  </a:lnTo>
                  <a:lnTo>
                    <a:pt x="419" y="56"/>
                  </a:lnTo>
                  <a:lnTo>
                    <a:pt x="419" y="53"/>
                  </a:lnTo>
                  <a:lnTo>
                    <a:pt x="420" y="51"/>
                  </a:lnTo>
                  <a:lnTo>
                    <a:pt x="421" y="48"/>
                  </a:lnTo>
                  <a:lnTo>
                    <a:pt x="423" y="45"/>
                  </a:lnTo>
                  <a:lnTo>
                    <a:pt x="425" y="44"/>
                  </a:lnTo>
                  <a:lnTo>
                    <a:pt x="427" y="42"/>
                  </a:lnTo>
                  <a:lnTo>
                    <a:pt x="430" y="41"/>
                  </a:lnTo>
                  <a:lnTo>
                    <a:pt x="434" y="41"/>
                  </a:lnTo>
                  <a:lnTo>
                    <a:pt x="437" y="41"/>
                  </a:lnTo>
                  <a:lnTo>
                    <a:pt x="439" y="42"/>
                  </a:lnTo>
                  <a:lnTo>
                    <a:pt x="442" y="44"/>
                  </a:lnTo>
                  <a:lnTo>
                    <a:pt x="444" y="45"/>
                  </a:lnTo>
                  <a:lnTo>
                    <a:pt x="445" y="48"/>
                  </a:lnTo>
                  <a:lnTo>
                    <a:pt x="448" y="51"/>
                  </a:lnTo>
                  <a:lnTo>
                    <a:pt x="449" y="53"/>
                  </a:lnTo>
                  <a:lnTo>
                    <a:pt x="449" y="56"/>
                  </a:lnTo>
                  <a:lnTo>
                    <a:pt x="449" y="120"/>
                  </a:lnTo>
                  <a:lnTo>
                    <a:pt x="628" y="120"/>
                  </a:lnTo>
                  <a:lnTo>
                    <a:pt x="628" y="56"/>
                  </a:lnTo>
                  <a:lnTo>
                    <a:pt x="628" y="53"/>
                  </a:lnTo>
                  <a:lnTo>
                    <a:pt x="629" y="51"/>
                  </a:lnTo>
                  <a:lnTo>
                    <a:pt x="631" y="48"/>
                  </a:lnTo>
                  <a:lnTo>
                    <a:pt x="633" y="45"/>
                  </a:lnTo>
                  <a:lnTo>
                    <a:pt x="635" y="44"/>
                  </a:lnTo>
                  <a:lnTo>
                    <a:pt x="637" y="42"/>
                  </a:lnTo>
                  <a:lnTo>
                    <a:pt x="640" y="41"/>
                  </a:lnTo>
                  <a:lnTo>
                    <a:pt x="643" y="41"/>
                  </a:lnTo>
                  <a:lnTo>
                    <a:pt x="646" y="41"/>
                  </a:lnTo>
                  <a:lnTo>
                    <a:pt x="649" y="42"/>
                  </a:lnTo>
                  <a:lnTo>
                    <a:pt x="651" y="44"/>
                  </a:lnTo>
                  <a:lnTo>
                    <a:pt x="653" y="45"/>
                  </a:lnTo>
                  <a:lnTo>
                    <a:pt x="655" y="48"/>
                  </a:lnTo>
                  <a:lnTo>
                    <a:pt x="656" y="51"/>
                  </a:lnTo>
                  <a:lnTo>
                    <a:pt x="657" y="53"/>
                  </a:lnTo>
                  <a:lnTo>
                    <a:pt x="658" y="56"/>
                  </a:lnTo>
                  <a:lnTo>
                    <a:pt x="658" y="120"/>
                  </a:lnTo>
                  <a:lnTo>
                    <a:pt x="807" y="120"/>
                  </a:lnTo>
                  <a:lnTo>
                    <a:pt x="809" y="120"/>
                  </a:lnTo>
                  <a:lnTo>
                    <a:pt x="812" y="121"/>
                  </a:lnTo>
                  <a:lnTo>
                    <a:pt x="815" y="123"/>
                  </a:lnTo>
                  <a:lnTo>
                    <a:pt x="818" y="125"/>
                  </a:lnTo>
                  <a:lnTo>
                    <a:pt x="819" y="128"/>
                  </a:lnTo>
                  <a:lnTo>
                    <a:pt x="821" y="130"/>
                  </a:lnTo>
                  <a:lnTo>
                    <a:pt x="821" y="132"/>
                  </a:lnTo>
                  <a:lnTo>
                    <a:pt x="822" y="135"/>
                  </a:lnTo>
                  <a:lnTo>
                    <a:pt x="821" y="138"/>
                  </a:lnTo>
                  <a:lnTo>
                    <a:pt x="821" y="142"/>
                  </a:lnTo>
                  <a:lnTo>
                    <a:pt x="819" y="144"/>
                  </a:lnTo>
                  <a:lnTo>
                    <a:pt x="818" y="146"/>
                  </a:lnTo>
                  <a:lnTo>
                    <a:pt x="815" y="148"/>
                  </a:lnTo>
                  <a:lnTo>
                    <a:pt x="812" y="149"/>
                  </a:lnTo>
                  <a:lnTo>
                    <a:pt x="809" y="150"/>
                  </a:lnTo>
                  <a:lnTo>
                    <a:pt x="807" y="150"/>
                  </a:lnTo>
                  <a:lnTo>
                    <a:pt x="658" y="150"/>
                  </a:lnTo>
                  <a:lnTo>
                    <a:pt x="658" y="270"/>
                  </a:lnTo>
                  <a:lnTo>
                    <a:pt x="807" y="270"/>
                  </a:lnTo>
                  <a:lnTo>
                    <a:pt x="809" y="270"/>
                  </a:lnTo>
                  <a:lnTo>
                    <a:pt x="812" y="271"/>
                  </a:lnTo>
                  <a:lnTo>
                    <a:pt x="815" y="272"/>
                  </a:lnTo>
                  <a:lnTo>
                    <a:pt x="818" y="274"/>
                  </a:lnTo>
                  <a:lnTo>
                    <a:pt x="819" y="276"/>
                  </a:lnTo>
                  <a:lnTo>
                    <a:pt x="821" y="280"/>
                  </a:lnTo>
                  <a:lnTo>
                    <a:pt x="821" y="282"/>
                  </a:lnTo>
                  <a:lnTo>
                    <a:pt x="822" y="285"/>
                  </a:lnTo>
                  <a:lnTo>
                    <a:pt x="821" y="288"/>
                  </a:lnTo>
                  <a:lnTo>
                    <a:pt x="821" y="291"/>
                  </a:lnTo>
                  <a:lnTo>
                    <a:pt x="819" y="294"/>
                  </a:lnTo>
                  <a:lnTo>
                    <a:pt x="818" y="296"/>
                  </a:lnTo>
                  <a:lnTo>
                    <a:pt x="815" y="298"/>
                  </a:lnTo>
                  <a:lnTo>
                    <a:pt x="812" y="299"/>
                  </a:lnTo>
                  <a:lnTo>
                    <a:pt x="809" y="300"/>
                  </a:lnTo>
                  <a:lnTo>
                    <a:pt x="807" y="300"/>
                  </a:lnTo>
                  <a:lnTo>
                    <a:pt x="658" y="300"/>
                  </a:lnTo>
                  <a:lnTo>
                    <a:pt x="658" y="420"/>
                  </a:lnTo>
                  <a:lnTo>
                    <a:pt x="807" y="420"/>
                  </a:lnTo>
                  <a:lnTo>
                    <a:pt x="809" y="420"/>
                  </a:lnTo>
                  <a:lnTo>
                    <a:pt x="812" y="421"/>
                  </a:lnTo>
                  <a:lnTo>
                    <a:pt x="815" y="422"/>
                  </a:lnTo>
                  <a:lnTo>
                    <a:pt x="818" y="424"/>
                  </a:lnTo>
                  <a:lnTo>
                    <a:pt x="819" y="426"/>
                  </a:lnTo>
                  <a:lnTo>
                    <a:pt x="821" y="428"/>
                  </a:lnTo>
                  <a:lnTo>
                    <a:pt x="821" y="432"/>
                  </a:lnTo>
                  <a:lnTo>
                    <a:pt x="822" y="435"/>
                  </a:lnTo>
                  <a:lnTo>
                    <a:pt x="821" y="438"/>
                  </a:lnTo>
                  <a:lnTo>
                    <a:pt x="821" y="440"/>
                  </a:lnTo>
                  <a:lnTo>
                    <a:pt x="819" y="443"/>
                  </a:lnTo>
                  <a:lnTo>
                    <a:pt x="818" y="446"/>
                  </a:lnTo>
                  <a:lnTo>
                    <a:pt x="815" y="447"/>
                  </a:lnTo>
                  <a:lnTo>
                    <a:pt x="812" y="449"/>
                  </a:lnTo>
                  <a:lnTo>
                    <a:pt x="809" y="449"/>
                  </a:lnTo>
                  <a:lnTo>
                    <a:pt x="807" y="450"/>
                  </a:lnTo>
                  <a:lnTo>
                    <a:pt x="658" y="450"/>
                  </a:lnTo>
                  <a:lnTo>
                    <a:pt x="658" y="509"/>
                  </a:lnTo>
                  <a:lnTo>
                    <a:pt x="657" y="512"/>
                  </a:lnTo>
                  <a:lnTo>
                    <a:pt x="656" y="515"/>
                  </a:lnTo>
                  <a:lnTo>
                    <a:pt x="655" y="517"/>
                  </a:lnTo>
                  <a:lnTo>
                    <a:pt x="653" y="519"/>
                  </a:lnTo>
                  <a:lnTo>
                    <a:pt x="651" y="521"/>
                  </a:lnTo>
                  <a:lnTo>
                    <a:pt x="649" y="523"/>
                  </a:lnTo>
                  <a:lnTo>
                    <a:pt x="646" y="524"/>
                  </a:lnTo>
                  <a:lnTo>
                    <a:pt x="643" y="524"/>
                  </a:lnTo>
                  <a:lnTo>
                    <a:pt x="640" y="524"/>
                  </a:lnTo>
                  <a:lnTo>
                    <a:pt x="637" y="523"/>
                  </a:lnTo>
                  <a:lnTo>
                    <a:pt x="635" y="521"/>
                  </a:lnTo>
                  <a:lnTo>
                    <a:pt x="633" y="519"/>
                  </a:lnTo>
                  <a:lnTo>
                    <a:pt x="631" y="517"/>
                  </a:lnTo>
                  <a:lnTo>
                    <a:pt x="629" y="515"/>
                  </a:lnTo>
                  <a:lnTo>
                    <a:pt x="628" y="512"/>
                  </a:lnTo>
                  <a:lnTo>
                    <a:pt x="628" y="509"/>
                  </a:lnTo>
                  <a:lnTo>
                    <a:pt x="628" y="450"/>
                  </a:lnTo>
                  <a:lnTo>
                    <a:pt x="449" y="450"/>
                  </a:lnTo>
                  <a:lnTo>
                    <a:pt x="449" y="509"/>
                  </a:lnTo>
                  <a:lnTo>
                    <a:pt x="449" y="512"/>
                  </a:lnTo>
                  <a:lnTo>
                    <a:pt x="448" y="515"/>
                  </a:lnTo>
                  <a:lnTo>
                    <a:pt x="445" y="517"/>
                  </a:lnTo>
                  <a:lnTo>
                    <a:pt x="444" y="519"/>
                  </a:lnTo>
                  <a:lnTo>
                    <a:pt x="442" y="521"/>
                  </a:lnTo>
                  <a:lnTo>
                    <a:pt x="439" y="523"/>
                  </a:lnTo>
                  <a:lnTo>
                    <a:pt x="437" y="524"/>
                  </a:lnTo>
                  <a:lnTo>
                    <a:pt x="434" y="524"/>
                  </a:lnTo>
                  <a:lnTo>
                    <a:pt x="430" y="524"/>
                  </a:lnTo>
                  <a:lnTo>
                    <a:pt x="427" y="523"/>
                  </a:lnTo>
                  <a:lnTo>
                    <a:pt x="425" y="521"/>
                  </a:lnTo>
                  <a:lnTo>
                    <a:pt x="423" y="519"/>
                  </a:lnTo>
                  <a:lnTo>
                    <a:pt x="421" y="517"/>
                  </a:lnTo>
                  <a:lnTo>
                    <a:pt x="420" y="515"/>
                  </a:lnTo>
                  <a:lnTo>
                    <a:pt x="419" y="512"/>
                  </a:lnTo>
                  <a:lnTo>
                    <a:pt x="419" y="509"/>
                  </a:lnTo>
                  <a:lnTo>
                    <a:pt x="419" y="450"/>
                  </a:lnTo>
                  <a:lnTo>
                    <a:pt x="239" y="450"/>
                  </a:lnTo>
                  <a:lnTo>
                    <a:pt x="239" y="509"/>
                  </a:lnTo>
                  <a:lnTo>
                    <a:pt x="239" y="512"/>
                  </a:lnTo>
                  <a:lnTo>
                    <a:pt x="238" y="515"/>
                  </a:lnTo>
                  <a:lnTo>
                    <a:pt x="237" y="517"/>
                  </a:lnTo>
                  <a:lnTo>
                    <a:pt x="235" y="519"/>
                  </a:lnTo>
                  <a:lnTo>
                    <a:pt x="233" y="521"/>
                  </a:lnTo>
                  <a:lnTo>
                    <a:pt x="230" y="523"/>
                  </a:lnTo>
                  <a:lnTo>
                    <a:pt x="227" y="524"/>
                  </a:lnTo>
                  <a:lnTo>
                    <a:pt x="224" y="524"/>
                  </a:lnTo>
                  <a:lnTo>
                    <a:pt x="221" y="524"/>
                  </a:lnTo>
                  <a:lnTo>
                    <a:pt x="219" y="523"/>
                  </a:lnTo>
                  <a:lnTo>
                    <a:pt x="215" y="521"/>
                  </a:lnTo>
                  <a:lnTo>
                    <a:pt x="213" y="519"/>
                  </a:lnTo>
                  <a:lnTo>
                    <a:pt x="212" y="517"/>
                  </a:lnTo>
                  <a:lnTo>
                    <a:pt x="210" y="515"/>
                  </a:lnTo>
                  <a:lnTo>
                    <a:pt x="210" y="512"/>
                  </a:lnTo>
                  <a:lnTo>
                    <a:pt x="209" y="509"/>
                  </a:lnTo>
                  <a:lnTo>
                    <a:pt x="209" y="450"/>
                  </a:lnTo>
                  <a:lnTo>
                    <a:pt x="90" y="450"/>
                  </a:lnTo>
                  <a:lnTo>
                    <a:pt x="87" y="449"/>
                  </a:lnTo>
                  <a:lnTo>
                    <a:pt x="85" y="449"/>
                  </a:lnTo>
                  <a:lnTo>
                    <a:pt x="82" y="447"/>
                  </a:lnTo>
                  <a:lnTo>
                    <a:pt x="80" y="446"/>
                  </a:lnTo>
                  <a:lnTo>
                    <a:pt x="77" y="443"/>
                  </a:lnTo>
                  <a:lnTo>
                    <a:pt x="76" y="440"/>
                  </a:lnTo>
                  <a:lnTo>
                    <a:pt x="75" y="438"/>
                  </a:lnTo>
                  <a:lnTo>
                    <a:pt x="75" y="435"/>
                  </a:lnTo>
                  <a:lnTo>
                    <a:pt x="75" y="432"/>
                  </a:lnTo>
                  <a:lnTo>
                    <a:pt x="76" y="428"/>
                  </a:lnTo>
                  <a:lnTo>
                    <a:pt x="77" y="426"/>
                  </a:lnTo>
                  <a:lnTo>
                    <a:pt x="80" y="424"/>
                  </a:lnTo>
                  <a:lnTo>
                    <a:pt x="82" y="422"/>
                  </a:lnTo>
                  <a:lnTo>
                    <a:pt x="85" y="421"/>
                  </a:lnTo>
                  <a:lnTo>
                    <a:pt x="87" y="420"/>
                  </a:lnTo>
                  <a:lnTo>
                    <a:pt x="90" y="420"/>
                  </a:lnTo>
                  <a:lnTo>
                    <a:pt x="209" y="420"/>
                  </a:lnTo>
                  <a:lnTo>
                    <a:pt x="209" y="300"/>
                  </a:lnTo>
                  <a:lnTo>
                    <a:pt x="90" y="300"/>
                  </a:lnTo>
                  <a:close/>
                  <a:moveTo>
                    <a:pt x="0" y="584"/>
                  </a:moveTo>
                  <a:lnTo>
                    <a:pt x="0" y="587"/>
                  </a:lnTo>
                  <a:lnTo>
                    <a:pt x="1" y="590"/>
                  </a:lnTo>
                  <a:lnTo>
                    <a:pt x="2" y="592"/>
                  </a:lnTo>
                  <a:lnTo>
                    <a:pt x="5" y="594"/>
                  </a:lnTo>
                  <a:lnTo>
                    <a:pt x="7" y="596"/>
                  </a:lnTo>
                  <a:lnTo>
                    <a:pt x="9" y="597"/>
                  </a:lnTo>
                  <a:lnTo>
                    <a:pt x="12" y="599"/>
                  </a:lnTo>
                  <a:lnTo>
                    <a:pt x="15" y="599"/>
                  </a:lnTo>
                  <a:lnTo>
                    <a:pt x="882" y="599"/>
                  </a:lnTo>
                  <a:lnTo>
                    <a:pt x="885" y="599"/>
                  </a:lnTo>
                  <a:lnTo>
                    <a:pt x="888" y="597"/>
                  </a:lnTo>
                  <a:lnTo>
                    <a:pt x="891" y="596"/>
                  </a:lnTo>
                  <a:lnTo>
                    <a:pt x="893" y="594"/>
                  </a:lnTo>
                  <a:lnTo>
                    <a:pt x="895" y="592"/>
                  </a:lnTo>
                  <a:lnTo>
                    <a:pt x="896" y="590"/>
                  </a:lnTo>
                  <a:lnTo>
                    <a:pt x="897" y="587"/>
                  </a:lnTo>
                  <a:lnTo>
                    <a:pt x="897" y="584"/>
                  </a:lnTo>
                  <a:lnTo>
                    <a:pt x="897" y="0"/>
                  </a:lnTo>
                  <a:lnTo>
                    <a:pt x="0" y="0"/>
                  </a:lnTo>
                  <a:lnTo>
                    <a:pt x="0" y="5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5531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09D4CAA-3578-293C-5EB3-9EE5B37548FB}"/>
              </a:ext>
            </a:extLst>
          </p:cNvPr>
          <p:cNvSpPr txBox="1"/>
          <p:nvPr/>
        </p:nvSpPr>
        <p:spPr>
          <a:xfrm>
            <a:off x="2763520" y="59944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INTRODU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18709B-7A19-BCAE-4405-5B812845D06B}"/>
              </a:ext>
            </a:extLst>
          </p:cNvPr>
          <p:cNvSpPr txBox="1"/>
          <p:nvPr/>
        </p:nvSpPr>
        <p:spPr>
          <a:xfrm>
            <a:off x="690880" y="1686560"/>
            <a:ext cx="1087120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Aim: </a:t>
            </a:r>
            <a:r>
              <a:rPr lang="en-US" sz="3200" dirty="0"/>
              <a:t>To analyze sales data for </a:t>
            </a:r>
            <a:r>
              <a:rPr lang="en-US" sz="3200" b="1" dirty="0">
                <a:solidFill>
                  <a:srgbClr val="FF0000"/>
                </a:solidFill>
              </a:rPr>
              <a:t>Shaun Mart </a:t>
            </a:r>
            <a:r>
              <a:rPr lang="en-US" sz="3200" dirty="0"/>
              <a:t>from 2019-2020 to understand performance, identify key trends, and discover growth opportunities and provide recommendations</a:t>
            </a:r>
          </a:p>
          <a:p>
            <a:endParaRPr lang="en-NG" dirty="0"/>
          </a:p>
        </p:txBody>
      </p:sp>
    </p:spTree>
    <p:extLst>
      <p:ext uri="{BB962C8B-B14F-4D97-AF65-F5344CB8AC3E}">
        <p14:creationId xmlns:p14="http://schemas.microsoft.com/office/powerpoint/2010/main" val="3408162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AE457D-0397-41A5-A1CF-4C80622841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033" b="10702"/>
          <a:stretch/>
        </p:blipFill>
        <p:spPr>
          <a:xfrm>
            <a:off x="292100" y="362320"/>
            <a:ext cx="11607800" cy="61333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016AF48-2AA8-4B78-82AB-CE8B9E71F21F}"/>
              </a:ext>
            </a:extLst>
          </p:cNvPr>
          <p:cNvSpPr/>
          <p:nvPr/>
        </p:nvSpPr>
        <p:spPr>
          <a:xfrm>
            <a:off x="0" y="1701800"/>
            <a:ext cx="12192000" cy="34544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C4CCBA-12AD-4433-A381-A03661E3D927}"/>
              </a:ext>
            </a:extLst>
          </p:cNvPr>
          <p:cNvSpPr txBox="1"/>
          <p:nvPr/>
        </p:nvSpPr>
        <p:spPr>
          <a:xfrm>
            <a:off x="3202669" y="2967335"/>
            <a:ext cx="5786662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b="1" dirty="0">
                <a:solidFill>
                  <a:schemeClr val="bg1"/>
                </a:solidFill>
                <a:latin typeface="+mj-lt"/>
              </a:rPr>
              <a:t>THANK</a:t>
            </a:r>
            <a:r>
              <a:rPr lang="en-US" sz="6000" dirty="0">
                <a:solidFill>
                  <a:schemeClr val="bg1"/>
                </a:solidFill>
                <a:latin typeface="+mj-lt"/>
              </a:rPr>
              <a:t> YOU</a:t>
            </a:r>
            <a:endParaRPr lang="en-US" sz="6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739A43-7308-4A45-800C-2B124CABFA5F}"/>
              </a:ext>
            </a:extLst>
          </p:cNvPr>
          <p:cNvSpPr/>
          <p:nvPr/>
        </p:nvSpPr>
        <p:spPr>
          <a:xfrm>
            <a:off x="5118100" y="0"/>
            <a:ext cx="1955800" cy="994405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1D692F-8C4B-47E6-B367-1CB302E31A6B}"/>
              </a:ext>
            </a:extLst>
          </p:cNvPr>
          <p:cNvSpPr/>
          <p:nvPr/>
        </p:nvSpPr>
        <p:spPr>
          <a:xfrm>
            <a:off x="5118100" y="5863595"/>
            <a:ext cx="1955800" cy="994405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2094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38807CC-6B41-A8BD-B380-12EA01C30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7AA9FE-A378-83BB-E572-CE76EC8A2A21}"/>
              </a:ext>
            </a:extLst>
          </p:cNvPr>
          <p:cNvSpPr txBox="1"/>
          <p:nvPr/>
        </p:nvSpPr>
        <p:spPr>
          <a:xfrm>
            <a:off x="2763520" y="59944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PROBLEM STATE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E41B6E-8709-53FF-D94F-EFA19BD19269}"/>
              </a:ext>
            </a:extLst>
          </p:cNvPr>
          <p:cNvSpPr txBox="1"/>
          <p:nvPr/>
        </p:nvSpPr>
        <p:spPr>
          <a:xfrm>
            <a:off x="690880" y="1686560"/>
            <a:ext cx="1072896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NG" altLang="en-NG" sz="3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oal:</a:t>
            </a:r>
            <a:r>
              <a:rPr kumimoji="0" lang="en-NG" altLang="en-NG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o gain actionable insights from historical sales data (2019-2020) to optimize sales strategies, improve marketing efforts, and enhance overall business profitability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endParaRPr kumimoji="0" lang="en-US" altLang="en-NG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NG" altLang="en-NG" sz="3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Questions:</a:t>
            </a:r>
            <a:r>
              <a:rPr kumimoji="0" lang="en-NG" altLang="en-NG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NG" altLang="en-NG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hat are the key sales performance metrics?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NG" altLang="en-NG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hich cities and products drive the most revenue?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NG" altLang="en-NG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hat are the significant sales trends over time (monthly, daily, time of day)?</a:t>
            </a:r>
          </a:p>
        </p:txBody>
      </p:sp>
    </p:spTree>
    <p:extLst>
      <p:ext uri="{BB962C8B-B14F-4D97-AF65-F5344CB8AC3E}">
        <p14:creationId xmlns:p14="http://schemas.microsoft.com/office/powerpoint/2010/main" val="1168432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B0FCF3-67D9-CCA1-0BE4-D43B8888FF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976B54D-AA6E-DA11-532C-DD0E7551B3C3}"/>
              </a:ext>
            </a:extLst>
          </p:cNvPr>
          <p:cNvSpPr txBox="1"/>
          <p:nvPr/>
        </p:nvSpPr>
        <p:spPr>
          <a:xfrm>
            <a:off x="2763520" y="56896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PROCESS </a:t>
            </a:r>
            <a:r>
              <a:rPr lang="en-US" sz="4400" dirty="0"/>
              <a:t>WORKFLO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E0BF2F-9994-69A8-D074-DBA082EC492F}"/>
              </a:ext>
            </a:extLst>
          </p:cNvPr>
          <p:cNvSpPr txBox="1"/>
          <p:nvPr/>
        </p:nvSpPr>
        <p:spPr>
          <a:xfrm>
            <a:off x="690880" y="1686560"/>
            <a:ext cx="1072896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/>
              <a:t>Step 1: Data Collection</a:t>
            </a:r>
          </a:p>
          <a:p>
            <a:r>
              <a:rPr lang="en-US" sz="4800" dirty="0"/>
              <a:t>Step 2: Identifying Unclean Data</a:t>
            </a:r>
          </a:p>
          <a:p>
            <a:r>
              <a:rPr lang="en-US" sz="4800" dirty="0"/>
              <a:t>Step 3: Data Cleaning Process</a:t>
            </a:r>
          </a:p>
          <a:p>
            <a:r>
              <a:rPr lang="en-US" sz="4800" dirty="0"/>
              <a:t>Step 4: Analysis &amp; Visualization</a:t>
            </a:r>
          </a:p>
          <a:p>
            <a:r>
              <a:rPr lang="en-US" sz="4800" dirty="0"/>
              <a:t>Step 5: Insights &amp;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472273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6EB6FE-13E3-CFA4-8E88-03AC48715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E2D173B-3F23-F271-D288-3D5A3AAC7C13}"/>
              </a:ext>
            </a:extLst>
          </p:cNvPr>
          <p:cNvSpPr txBox="1"/>
          <p:nvPr/>
        </p:nvSpPr>
        <p:spPr>
          <a:xfrm>
            <a:off x="2763520" y="56896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0000"/>
                </a:solidFill>
              </a:rPr>
              <a:t>DATA</a:t>
            </a:r>
            <a:r>
              <a:rPr lang="en-US" sz="4400" b="1" dirty="0"/>
              <a:t> </a:t>
            </a:r>
            <a:r>
              <a:rPr lang="en-US" sz="4400" dirty="0"/>
              <a:t>COLLE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FAA6B4-E9F4-91DF-879D-AA6D85A69AD9}"/>
              </a:ext>
            </a:extLst>
          </p:cNvPr>
          <p:cNvSpPr txBox="1"/>
          <p:nvPr/>
        </p:nvSpPr>
        <p:spPr>
          <a:xfrm>
            <a:off x="690880" y="1686560"/>
            <a:ext cx="106375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/>
              <a:t>Data was sourced from the Company’s sales record.</a:t>
            </a:r>
          </a:p>
        </p:txBody>
      </p:sp>
    </p:spTree>
    <p:extLst>
      <p:ext uri="{BB962C8B-B14F-4D97-AF65-F5344CB8AC3E}">
        <p14:creationId xmlns:p14="http://schemas.microsoft.com/office/powerpoint/2010/main" val="2731013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F5F382-6510-79C5-3039-0B9A634AC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C1F390-ED5F-AC92-5473-C7D95824A89F}"/>
              </a:ext>
            </a:extLst>
          </p:cNvPr>
          <p:cNvSpPr txBox="1"/>
          <p:nvPr/>
        </p:nvSpPr>
        <p:spPr>
          <a:xfrm>
            <a:off x="2763520" y="56896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UNCLEANED </a:t>
            </a:r>
            <a:r>
              <a:rPr lang="en-US" b="0" dirty="0">
                <a:solidFill>
                  <a:schemeClr val="tx1"/>
                </a:solidFill>
              </a:rPr>
              <a:t>DAT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1CEDB9-2D90-E313-0AC8-15665BBD2716}"/>
              </a:ext>
            </a:extLst>
          </p:cNvPr>
          <p:cNvSpPr txBox="1"/>
          <p:nvPr/>
        </p:nvSpPr>
        <p:spPr>
          <a:xfrm>
            <a:off x="690880" y="1686560"/>
            <a:ext cx="1072896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000" dirty="0"/>
              <a:t>Irrelevant columns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000" dirty="0"/>
              <a:t>Incorrect formatting and inconsistent date entries.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000" dirty="0"/>
              <a:t>Presence of duplicate entries.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000" dirty="0"/>
              <a:t>Presence of Blank entries</a:t>
            </a:r>
          </a:p>
        </p:txBody>
      </p:sp>
    </p:spTree>
    <p:extLst>
      <p:ext uri="{BB962C8B-B14F-4D97-AF65-F5344CB8AC3E}">
        <p14:creationId xmlns:p14="http://schemas.microsoft.com/office/powerpoint/2010/main" val="2598199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C626D19-3572-AA76-DBD8-90D62F37A2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425"/>
            <a:ext cx="12192000" cy="6407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38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26A059-DC72-93E4-EBE9-9BD19B109A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D511F73-9D1E-50CF-9975-4B7EC492F227}"/>
              </a:ext>
            </a:extLst>
          </p:cNvPr>
          <p:cNvSpPr txBox="1"/>
          <p:nvPr/>
        </p:nvSpPr>
        <p:spPr>
          <a:xfrm>
            <a:off x="2763520" y="56896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ATA CLEANING </a:t>
            </a:r>
            <a:r>
              <a:rPr lang="en-US" b="0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BBC561-AE34-E15B-108E-D0CCFDB29CDF}"/>
              </a:ext>
            </a:extLst>
          </p:cNvPr>
          <p:cNvSpPr txBox="1"/>
          <p:nvPr/>
        </p:nvSpPr>
        <p:spPr>
          <a:xfrm>
            <a:off x="690880" y="1686560"/>
            <a:ext cx="1072896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Removing duplicate record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Handling missing values (filling or removing them)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Standardizing date formats and correcting errors using DAX formulas.</a:t>
            </a:r>
          </a:p>
          <a:p>
            <a:r>
              <a:rPr lang="en-US" sz="3600" dirty="0"/>
              <a:t>      (formatting the date into year, month, day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Categorizing the Time into morning, afternoon and night using DAX formula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Validating data types of each column and correcting errors.</a:t>
            </a:r>
          </a:p>
        </p:txBody>
      </p:sp>
    </p:spTree>
    <p:extLst>
      <p:ext uri="{BB962C8B-B14F-4D97-AF65-F5344CB8AC3E}">
        <p14:creationId xmlns:p14="http://schemas.microsoft.com/office/powerpoint/2010/main" val="3788437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1896B7D-A9E7-CF8C-9F9E-060DD1D92E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33482BF-D69B-2FFE-340B-FF57124C16BE}"/>
              </a:ext>
            </a:extLst>
          </p:cNvPr>
          <p:cNvSpPr txBox="1"/>
          <p:nvPr/>
        </p:nvSpPr>
        <p:spPr>
          <a:xfrm>
            <a:off x="2763520" y="568960"/>
            <a:ext cx="6929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EANED </a:t>
            </a:r>
            <a:r>
              <a:rPr lang="en-US" b="0" dirty="0">
                <a:solidFill>
                  <a:schemeClr val="tx1"/>
                </a:solidFill>
              </a:rPr>
              <a:t>DAT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99331F-2F74-94A3-1B45-C98BB5CA43FC}"/>
              </a:ext>
            </a:extLst>
          </p:cNvPr>
          <p:cNvSpPr txBox="1"/>
          <p:nvPr/>
        </p:nvSpPr>
        <p:spPr>
          <a:xfrm>
            <a:off x="690880" y="1686560"/>
            <a:ext cx="1072896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Improved dataset with accurate and structured information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Standardized date and time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No missing values or duplicate record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Added new columns to aid visualization and insight</a:t>
            </a:r>
          </a:p>
        </p:txBody>
      </p:sp>
    </p:spTree>
    <p:extLst>
      <p:ext uri="{BB962C8B-B14F-4D97-AF65-F5344CB8AC3E}">
        <p14:creationId xmlns:p14="http://schemas.microsoft.com/office/powerpoint/2010/main" val="559067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McD color sc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1737"/>
      </a:accent1>
      <a:accent2>
        <a:srgbClr val="FFC427"/>
      </a:accent2>
      <a:accent3>
        <a:srgbClr val="B4D78E"/>
      </a:accent3>
      <a:accent4>
        <a:srgbClr val="749CD3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McD color sc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E31737"/>
    </a:accent1>
    <a:accent2>
      <a:srgbClr val="FFC427"/>
    </a:accent2>
    <a:accent3>
      <a:srgbClr val="B4D78E"/>
    </a:accent3>
    <a:accent4>
      <a:srgbClr val="749CD3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66</TotalTime>
  <Words>845</Words>
  <Application>Microsoft Office PowerPoint</Application>
  <PresentationFormat>Widescreen</PresentationFormat>
  <Paragraphs>120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Calibri Light</vt:lpstr>
      <vt:lpstr>Century Gothic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uwaseun Oseni</dc:creator>
  <cp:lastModifiedBy>SHAUN</cp:lastModifiedBy>
  <cp:revision>71</cp:revision>
  <dcterms:created xsi:type="dcterms:W3CDTF">2018-05-14T04:22:42Z</dcterms:created>
  <dcterms:modified xsi:type="dcterms:W3CDTF">2025-04-01T15:42:37Z</dcterms:modified>
</cp:coreProperties>
</file>